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6" r:id="rId6"/>
    <p:sldMasterId id="2147483726" r:id="rId7"/>
    <p:sldMasterId id="2147483737" r:id="rId8"/>
    <p:sldMasterId id="2147483748" r:id="rId9"/>
    <p:sldMasterId id="2147483760" r:id="rId10"/>
    <p:sldMasterId id="2147483814" r:id="rId11"/>
  </p:sldMasterIdLst>
  <p:notesMasterIdLst>
    <p:notesMasterId r:id="rId66"/>
  </p:notesMasterIdLst>
  <p:sldIdLst>
    <p:sldId id="330" r:id="rId12"/>
    <p:sldId id="292" r:id="rId13"/>
    <p:sldId id="293" r:id="rId14"/>
    <p:sldId id="294" r:id="rId15"/>
    <p:sldId id="298" r:id="rId16"/>
    <p:sldId id="297" r:id="rId17"/>
    <p:sldId id="280" r:id="rId18"/>
    <p:sldId id="308" r:id="rId19"/>
    <p:sldId id="295" r:id="rId20"/>
    <p:sldId id="256" r:id="rId21"/>
    <p:sldId id="257" r:id="rId22"/>
    <p:sldId id="313" r:id="rId23"/>
    <p:sldId id="316" r:id="rId24"/>
    <p:sldId id="317" r:id="rId25"/>
    <p:sldId id="328" r:id="rId26"/>
    <p:sldId id="334" r:id="rId27"/>
    <p:sldId id="318" r:id="rId28"/>
    <p:sldId id="327" r:id="rId29"/>
    <p:sldId id="309" r:id="rId30"/>
    <p:sldId id="319" r:id="rId31"/>
    <p:sldId id="349" r:id="rId32"/>
    <p:sldId id="350" r:id="rId33"/>
    <p:sldId id="332" r:id="rId34"/>
    <p:sldId id="345" r:id="rId35"/>
    <p:sldId id="336" r:id="rId36"/>
    <p:sldId id="337" r:id="rId37"/>
    <p:sldId id="338" r:id="rId38"/>
    <p:sldId id="340" r:id="rId39"/>
    <p:sldId id="341" r:id="rId40"/>
    <p:sldId id="342" r:id="rId41"/>
    <p:sldId id="343" r:id="rId42"/>
    <p:sldId id="346" r:id="rId43"/>
    <p:sldId id="354" r:id="rId44"/>
    <p:sldId id="339" r:id="rId45"/>
    <p:sldId id="353" r:id="rId46"/>
    <p:sldId id="321" r:id="rId47"/>
    <p:sldId id="324" r:id="rId48"/>
    <p:sldId id="320" r:id="rId49"/>
    <p:sldId id="351" r:id="rId50"/>
    <p:sldId id="323" r:id="rId51"/>
    <p:sldId id="325" r:id="rId52"/>
    <p:sldId id="326" r:id="rId53"/>
    <p:sldId id="315" r:id="rId54"/>
    <p:sldId id="312" r:id="rId55"/>
    <p:sldId id="356" r:id="rId56"/>
    <p:sldId id="268" r:id="rId57"/>
    <p:sldId id="289" r:id="rId58"/>
    <p:sldId id="277" r:id="rId59"/>
    <p:sldId id="271" r:id="rId60"/>
    <p:sldId id="310" r:id="rId61"/>
    <p:sldId id="314" r:id="rId62"/>
    <p:sldId id="273" r:id="rId63"/>
    <p:sldId id="352" r:id="rId64"/>
    <p:sldId id="300"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DDEEDB4-A76B-4075-82D9-1F51AB43B720}">
          <p14:sldIdLst>
            <p14:sldId id="330"/>
            <p14:sldId id="292"/>
            <p14:sldId id="293"/>
            <p14:sldId id="294"/>
            <p14:sldId id="298"/>
            <p14:sldId id="297"/>
            <p14:sldId id="280"/>
            <p14:sldId id="308"/>
            <p14:sldId id="295"/>
            <p14:sldId id="256"/>
            <p14:sldId id="257"/>
            <p14:sldId id="313"/>
          </p14:sldIdLst>
        </p14:section>
        <p14:section name="What is it?" id="{D9D07B79-D6F9-4622-A1D1-34E1FDE06AD4}">
          <p14:sldIdLst>
            <p14:sldId id="316"/>
            <p14:sldId id="317"/>
            <p14:sldId id="328"/>
          </p14:sldIdLst>
        </p14:section>
        <p14:section name="Things" id="{79DC5622-0FB7-4C23-A990-78F094D52AD1}">
          <p14:sldIdLst>
            <p14:sldId id="334"/>
            <p14:sldId id="318"/>
            <p14:sldId id="327"/>
            <p14:sldId id="309"/>
          </p14:sldIdLst>
        </p14:section>
        <p14:section name="Connectivity" id="{EC3974DD-C674-4032-BBDE-436E07F8516A}">
          <p14:sldIdLst>
            <p14:sldId id="319"/>
            <p14:sldId id="349"/>
            <p14:sldId id="350"/>
            <p14:sldId id="332"/>
            <p14:sldId id="345"/>
          </p14:sldIdLst>
        </p14:section>
        <p14:section name="Event Hubs Demo Fallback" id="{E9C9D4F1-7445-45EA-92A2-A58EEDFBCFD6}">
          <p14:sldIdLst>
            <p14:sldId id="336"/>
            <p14:sldId id="337"/>
            <p14:sldId id="338"/>
            <p14:sldId id="340"/>
            <p14:sldId id="341"/>
            <p14:sldId id="342"/>
            <p14:sldId id="343"/>
            <p14:sldId id="346"/>
            <p14:sldId id="354"/>
            <p14:sldId id="339"/>
            <p14:sldId id="353"/>
          </p14:sldIdLst>
        </p14:section>
        <p14:section name="Data" id="{4052CC7F-8F6C-4A67-966B-4A7631C00A2B}">
          <p14:sldIdLst>
            <p14:sldId id="321"/>
            <p14:sldId id="324"/>
          </p14:sldIdLst>
        </p14:section>
        <p14:section name="Analytics" id="{7BF990E0-4D54-4EA4-8E77-A05FB081646C}">
          <p14:sldIdLst>
            <p14:sldId id="320"/>
            <p14:sldId id="351"/>
            <p14:sldId id="323"/>
            <p14:sldId id="325"/>
            <p14:sldId id="326"/>
            <p14:sldId id="315"/>
            <p14:sldId id="312"/>
            <p14:sldId id="356"/>
          </p14:sldIdLst>
        </p14:section>
        <p14:section name="Projects" id="{2131C302-7558-4626-B847-F5BDED316E13}">
          <p14:sldIdLst>
            <p14:sldId id="268"/>
            <p14:sldId id="289"/>
            <p14:sldId id="277"/>
            <p14:sldId id="271"/>
            <p14:sldId id="310"/>
          </p14:sldIdLst>
        </p14:section>
        <p14:section name="Finish" id="{3D68A23F-2F70-42D1-AF45-42F1476AF010}">
          <p14:sldIdLst>
            <p14:sldId id="314"/>
            <p14:sldId id="273"/>
            <p14:sldId id="352"/>
            <p14:sldId id="30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8F8C14"/>
    <a:srgbClr val="CBCCDB"/>
    <a:srgbClr val="3851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91" autoAdjust="0"/>
    <p:restoredTop sz="75967" autoAdjust="0"/>
  </p:normalViewPr>
  <p:slideViewPr>
    <p:cSldViewPr snapToGrid="0">
      <p:cViewPr>
        <p:scale>
          <a:sx n="89" d="100"/>
          <a:sy n="89" d="100"/>
        </p:scale>
        <p:origin x="-492" y="-2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5C985-E843-4D6F-A88C-A621097898D0}" type="datetimeFigureOut">
              <a:rPr lang="en-AU" smtClean="0"/>
              <a:t>27/03/201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6ADE6C-1B6B-435D-8521-5097B11251C3}" type="slidenum">
              <a:rPr lang="en-AU" smtClean="0"/>
              <a:t>‹#›</a:t>
            </a:fld>
            <a:endParaRPr lang="en-AU"/>
          </a:p>
        </p:txBody>
      </p:sp>
    </p:spTree>
    <p:extLst>
      <p:ext uri="{BB962C8B-B14F-4D97-AF65-F5344CB8AC3E}">
        <p14:creationId xmlns:p14="http://schemas.microsoft.com/office/powerpoint/2010/main" val="120449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oT</a:t>
            </a:r>
            <a:r>
              <a:rPr lang="en-US" baseline="0" dirty="0" smtClean="0"/>
              <a:t> = Internet of things</a:t>
            </a:r>
            <a:endParaRPr lang="en-US" dirty="0" smtClean="0"/>
          </a:p>
          <a:p>
            <a:endParaRPr lang="en-US" dirty="0" smtClean="0"/>
          </a:p>
          <a:p>
            <a:r>
              <a:rPr lang="en-US" dirty="0" smtClean="0"/>
              <a:t>How many of</a:t>
            </a:r>
            <a:r>
              <a:rPr lang="en-US" baseline="0" dirty="0" smtClean="0"/>
              <a:t> you are human?</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1</a:t>
            </a:fld>
            <a:endParaRPr lang="en-AU"/>
          </a:p>
        </p:txBody>
      </p:sp>
    </p:spTree>
    <p:extLst>
      <p:ext uri="{BB962C8B-B14F-4D97-AF65-F5344CB8AC3E}">
        <p14:creationId xmlns:p14="http://schemas.microsoft.com/office/powerpoint/2010/main" val="1934730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loud”</a:t>
            </a:r>
            <a:r>
              <a:rPr lang="en-US" baseline="0" dirty="0" smtClean="0"/>
              <a:t> is another phrase that has changed over time, and today it means something very important.</a:t>
            </a:r>
          </a:p>
          <a:p>
            <a:endParaRPr lang="en-US" baseline="0" dirty="0" smtClean="0"/>
          </a:p>
          <a:p>
            <a:r>
              <a:rPr lang="en-US" baseline="0" dirty="0" smtClean="0"/>
              <a:t>IoT is starting to mean something. Something importan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1</a:t>
            </a:fld>
            <a:endParaRPr lang="en-AU"/>
          </a:p>
        </p:txBody>
      </p:sp>
    </p:spTree>
    <p:extLst>
      <p:ext uri="{BB962C8B-B14F-4D97-AF65-F5344CB8AC3E}">
        <p14:creationId xmlns:p14="http://schemas.microsoft.com/office/powerpoint/2010/main" val="2761953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TNG</a:t>
            </a:r>
            <a:r>
              <a:rPr lang="en-US" baseline="0" dirty="0" smtClean="0"/>
              <a:t> S3, Evolution</a:t>
            </a:r>
          </a:p>
          <a:p>
            <a:endParaRPr lang="en-US" baseline="0" dirty="0" smtClean="0"/>
          </a:p>
          <a:p>
            <a:r>
              <a:rPr lang="en-US" baseline="0" dirty="0" smtClean="0"/>
              <a:t>Wesley Crusher was just called up to the bridge, so he’s putting his </a:t>
            </a:r>
            <a:r>
              <a:rPr lang="en-US" baseline="0" dirty="0" err="1" smtClean="0"/>
              <a:t>nanites</a:t>
            </a:r>
            <a:r>
              <a:rPr lang="en-US" baseline="0" dirty="0" smtClean="0"/>
              <a:t> away.</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2</a:t>
            </a:fld>
            <a:endParaRPr lang="en-AU"/>
          </a:p>
        </p:txBody>
      </p:sp>
    </p:spTree>
    <p:extLst>
      <p:ext uri="{BB962C8B-B14F-4D97-AF65-F5344CB8AC3E}">
        <p14:creationId xmlns:p14="http://schemas.microsoft.com/office/powerpoint/2010/main" val="2136322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7906" lvl="1" indent="-228600">
              <a:buFont typeface="+mj-lt"/>
              <a:buAutoNum type="arabicPeriod"/>
            </a:pPr>
            <a:r>
              <a:rPr lang="en-US" sz="1200" b="1" kern="1200" dirty="0" smtClean="0">
                <a:solidFill>
                  <a:schemeClr val="tx1"/>
                </a:solidFill>
                <a:effectLst/>
                <a:latin typeface="Segoe UI Light" pitchFamily="34" charset="0"/>
                <a:ea typeface="+mn-ea"/>
                <a:cs typeface="+mn-cs"/>
              </a:rPr>
              <a:t>Physical “things” </a:t>
            </a:r>
            <a:r>
              <a:rPr lang="en-US" sz="1200" kern="1200" dirty="0" smtClean="0">
                <a:solidFill>
                  <a:schemeClr val="tx1"/>
                </a:solidFill>
                <a:effectLst/>
                <a:latin typeface="Segoe UI Light" pitchFamily="34" charset="0"/>
                <a:ea typeface="+mn-ea"/>
                <a:cs typeface="+mn-cs"/>
              </a:rPr>
              <a:t>such as devices and sensors.</a:t>
            </a:r>
            <a:r>
              <a:rPr lang="en-US" sz="1200" kern="1200" baseline="0" dirty="0" smtClean="0">
                <a:solidFill>
                  <a:schemeClr val="tx1"/>
                </a:solidFill>
                <a:effectLst/>
                <a:latin typeface="Segoe UI Light" pitchFamily="34" charset="0"/>
                <a:ea typeface="+mn-ea"/>
                <a:cs typeface="+mn-cs"/>
              </a:rPr>
              <a:t> This is the easy part.</a:t>
            </a:r>
            <a:endParaRPr lang="en-US" sz="1200" kern="1200" dirty="0" smtClean="0">
              <a:solidFill>
                <a:schemeClr val="tx1"/>
              </a:solidFill>
              <a:effectLst/>
              <a:latin typeface="Segoe UI Light" pitchFamily="34" charset="0"/>
              <a:ea typeface="+mn-ea"/>
              <a:cs typeface="+mn-cs"/>
            </a:endParaRPr>
          </a:p>
          <a:p>
            <a:pPr marL="337906" lvl="1" indent="-228600">
              <a:buFont typeface="+mj-lt"/>
              <a:buAutoNum type="arabicPeriod"/>
            </a:pPr>
            <a:endParaRPr lang="en-US" sz="1200" kern="1200" dirty="0" smtClean="0">
              <a:solidFill>
                <a:schemeClr val="tx1"/>
              </a:solidFill>
              <a:effectLst/>
              <a:latin typeface="Segoe UI Light" pitchFamily="34" charset="0"/>
              <a:ea typeface="+mn-ea"/>
              <a:cs typeface="+mn-cs"/>
            </a:endParaRPr>
          </a:p>
          <a:p>
            <a:pPr marL="109306" lvl="1" indent="0">
              <a:buFont typeface="+mj-lt"/>
              <a:buNone/>
            </a:pPr>
            <a:endParaRPr lang="en-US" sz="1200" kern="1200" dirty="0" smtClean="0">
              <a:solidFill>
                <a:schemeClr val="tx1"/>
              </a:solidFill>
              <a:effectLst/>
              <a:latin typeface="Segoe UI Light" pitchFamily="34" charset="0"/>
              <a:ea typeface="+mn-ea"/>
              <a:cs typeface="+mn-cs"/>
            </a:endParaRPr>
          </a:p>
          <a:p>
            <a:pPr marL="109306" lvl="1" indent="0">
              <a:buFont typeface="+mj-lt"/>
              <a:buNone/>
            </a:pPr>
            <a:r>
              <a:rPr lang="en-US" sz="1200" b="1" kern="1200" dirty="0" smtClean="0">
                <a:solidFill>
                  <a:schemeClr val="tx1"/>
                </a:solidFill>
                <a:effectLst/>
                <a:latin typeface="Segoe UI Light" pitchFamily="34" charset="0"/>
                <a:ea typeface="+mn-ea"/>
                <a:cs typeface="+mn-cs"/>
              </a:rPr>
              <a:t>New and</a:t>
            </a:r>
            <a:r>
              <a:rPr lang="en-US" sz="1200" b="1" kern="1200" baseline="0" dirty="0" smtClean="0">
                <a:solidFill>
                  <a:schemeClr val="tx1"/>
                </a:solidFill>
                <a:effectLst/>
                <a:latin typeface="Segoe UI Light" pitchFamily="34" charset="0"/>
                <a:ea typeface="+mn-ea"/>
                <a:cs typeface="+mn-cs"/>
              </a:rPr>
              <a:t> improved!</a:t>
            </a:r>
            <a:endParaRPr lang="en-US" sz="1200" b="1" kern="1200" dirty="0" smtClean="0">
              <a:solidFill>
                <a:schemeClr val="tx1"/>
              </a:solidFill>
              <a:effectLst/>
              <a:latin typeface="Segoe UI Light" pitchFamily="34" charset="0"/>
              <a:ea typeface="+mn-ea"/>
              <a:cs typeface="+mn-cs"/>
            </a:endParaRPr>
          </a:p>
          <a:p>
            <a:pPr marL="337906" lvl="1" indent="-228600">
              <a:buFont typeface="+mj-lt"/>
              <a:buAutoNum type="arabicPeriod"/>
            </a:pPr>
            <a:r>
              <a:rPr lang="en-US" sz="1200" kern="1200" dirty="0" smtClean="0">
                <a:solidFill>
                  <a:schemeClr val="tx1"/>
                </a:solidFill>
                <a:effectLst/>
                <a:latin typeface="Segoe UI Light" pitchFamily="34" charset="0"/>
                <a:ea typeface="+mn-ea"/>
                <a:cs typeface="+mn-cs"/>
              </a:rPr>
              <a:t>Those “things” that have </a:t>
            </a:r>
            <a:r>
              <a:rPr lang="en-US" sz="1200" b="1" kern="1200" dirty="0" smtClean="0">
                <a:solidFill>
                  <a:schemeClr val="tx1"/>
                </a:solidFill>
                <a:effectLst/>
                <a:latin typeface="Segoe UI Light" pitchFamily="34" charset="0"/>
                <a:ea typeface="+mn-ea"/>
                <a:cs typeface="+mn-cs"/>
              </a:rPr>
              <a:t>connectivity</a:t>
            </a:r>
            <a:r>
              <a:rPr lang="en-US" sz="1200" kern="1200" dirty="0" smtClean="0">
                <a:solidFill>
                  <a:schemeClr val="tx1"/>
                </a:solidFill>
                <a:effectLst/>
                <a:latin typeface="Segoe UI Light" pitchFamily="34" charset="0"/>
                <a:ea typeface="+mn-ea"/>
                <a:cs typeface="+mn-cs"/>
              </a:rPr>
              <a:t> to either the internet or to each other or humans</a:t>
            </a:r>
          </a:p>
          <a:p>
            <a:pPr marL="337906" lvl="1" indent="-228600">
              <a:buFont typeface="+mj-lt"/>
              <a:buAutoNum type="arabicPeriod"/>
            </a:pPr>
            <a:r>
              <a:rPr lang="en-US" sz="1200" kern="1200" dirty="0" smtClean="0">
                <a:solidFill>
                  <a:schemeClr val="tx1"/>
                </a:solidFill>
                <a:effectLst/>
                <a:latin typeface="Segoe UI Light" pitchFamily="34" charset="0"/>
                <a:ea typeface="+mn-ea"/>
                <a:cs typeface="+mn-cs"/>
              </a:rPr>
              <a:t>These things have the ability to </a:t>
            </a:r>
            <a:r>
              <a:rPr lang="en-US" sz="1200" b="1" kern="1200" dirty="0" smtClean="0">
                <a:solidFill>
                  <a:schemeClr val="tx1"/>
                </a:solidFill>
                <a:effectLst/>
                <a:latin typeface="Segoe UI Light" pitchFamily="34" charset="0"/>
                <a:ea typeface="+mn-ea"/>
                <a:cs typeface="+mn-cs"/>
              </a:rPr>
              <a:t>collect and communicate information</a:t>
            </a:r>
            <a:endParaRPr lang="en-US" sz="1200" kern="1200" dirty="0" smtClean="0">
              <a:solidFill>
                <a:schemeClr val="tx1"/>
              </a:solidFill>
              <a:effectLst/>
              <a:latin typeface="Segoe UI Light" pitchFamily="34" charset="0"/>
              <a:ea typeface="+mn-ea"/>
              <a:cs typeface="+mn-cs"/>
            </a:endParaRPr>
          </a:p>
          <a:p>
            <a:pPr marL="337906" lvl="1" indent="-228600">
              <a:buFont typeface="+mj-lt"/>
              <a:buAutoNum type="arabicPeriod"/>
            </a:pPr>
            <a:r>
              <a:rPr lang="en-US" sz="1200" b="1" kern="1200" dirty="0" smtClean="0">
                <a:solidFill>
                  <a:schemeClr val="tx1"/>
                </a:solidFill>
                <a:effectLst/>
                <a:latin typeface="Segoe UI Light" pitchFamily="34" charset="0"/>
                <a:ea typeface="+mn-ea"/>
                <a:cs typeface="+mn-cs"/>
              </a:rPr>
              <a:t>Analytics</a:t>
            </a:r>
            <a:r>
              <a:rPr lang="en-US" sz="1200" kern="1200" dirty="0" smtClean="0">
                <a:solidFill>
                  <a:schemeClr val="tx1"/>
                </a:solidFill>
                <a:effectLst/>
                <a:latin typeface="Segoe UI Light" pitchFamily="34" charset="0"/>
                <a:ea typeface="+mn-ea"/>
                <a:cs typeface="+mn-cs"/>
              </a:rPr>
              <a:t> gives</a:t>
            </a:r>
            <a:r>
              <a:rPr lang="en-US" sz="1200" kern="1200" baseline="0" dirty="0" smtClean="0">
                <a:solidFill>
                  <a:schemeClr val="tx1"/>
                </a:solidFill>
                <a:effectLst/>
                <a:latin typeface="Segoe UI Light" pitchFamily="34" charset="0"/>
                <a:ea typeface="+mn-ea"/>
                <a:cs typeface="+mn-cs"/>
              </a:rPr>
              <a:t> us information to make decisions</a:t>
            </a:r>
            <a:endParaRPr lang="en-US" sz="1200" kern="1200" dirty="0" smtClean="0">
              <a:solidFill>
                <a:schemeClr val="tx1"/>
              </a:solidFill>
              <a:effectLst/>
              <a:latin typeface="Segoe UI Light" pitchFamily="34" charset="0"/>
              <a:ea typeface="+mn-ea"/>
              <a:cs typeface="+mn-cs"/>
            </a:endParaRPr>
          </a:p>
          <a:p>
            <a:pPr>
              <a:lnSpc>
                <a:spcPct val="115000"/>
              </a:lnSpc>
              <a:spcAft>
                <a:spcPts val="1030"/>
              </a:spcAft>
            </a:pPr>
            <a:endParaRPr lang="en-US" dirty="0">
              <a:solidFill>
                <a:srgbClr val="595959"/>
              </a:solidFill>
              <a:latin typeface="Segoe UI" panose="020B0502040204020203"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fld id="{3AF89109-FECF-4F55-875E-EAF014861D0D}" type="datetime1">
              <a:rPr lang="en-US" smtClean="0">
                <a:solidFill>
                  <a:prstClr val="black"/>
                </a:solidFill>
              </a:rPr>
              <a:pPr/>
              <a:t>3/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512707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Azure has a lot of services that align well with IoT</a:t>
            </a:r>
            <a:r>
              <a:rPr lang="en-US" baseline="0" dirty="0" smtClean="0"/>
              <a:t> scenarios</a:t>
            </a:r>
            <a:endParaRPr lang="en-US" dirty="0" smtClean="0"/>
          </a:p>
          <a:p>
            <a:pPr marL="0" indent="0">
              <a:buFont typeface="Arial" panose="020B0604020202020204" pitchFamily="34" charset="0"/>
              <a:buNone/>
            </a:pPr>
            <a:endParaRPr lang="en-US" dirty="0" smtClean="0"/>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As we think about Azure IoT services, there are a collection of capabilities involved.</a:t>
            </a:r>
          </a:p>
          <a:p>
            <a:pPr marL="171450" indent="-171450">
              <a:buFont typeface="Arial" panose="020B0604020202020204" pitchFamily="34" charset="0"/>
              <a:buChar char="•"/>
            </a:pPr>
            <a:r>
              <a:rPr lang="en-US" dirty="0" smtClean="0"/>
              <a:t>First</a:t>
            </a:r>
            <a:r>
              <a:rPr lang="en-US" baseline="0" dirty="0" smtClean="0"/>
              <a:t> there are</a:t>
            </a:r>
            <a:r>
              <a:rPr lang="en-US" b="1" baseline="0" dirty="0" smtClean="0"/>
              <a:t> Producers</a:t>
            </a:r>
            <a:r>
              <a:rPr lang="en-US" baseline="0" dirty="0" smtClean="0"/>
              <a:t>.  These can be basic sensors, small form factor devices, traditional computer systems, or even complex assets made up of a number of data sources.</a:t>
            </a:r>
          </a:p>
          <a:p>
            <a:pPr marL="171450" indent="-171450">
              <a:buFont typeface="Arial" panose="020B0604020202020204" pitchFamily="34" charset="0"/>
              <a:buChar char="•"/>
            </a:pPr>
            <a:r>
              <a:rPr lang="en-US" baseline="0" dirty="0" smtClean="0"/>
              <a:t>Next we have the </a:t>
            </a:r>
            <a:r>
              <a:rPr lang="en-US" b="1" baseline="0" dirty="0" smtClean="0"/>
              <a:t>Connect Devices </a:t>
            </a:r>
            <a:r>
              <a:rPr lang="en-US" baseline="0" dirty="0" smtClean="0"/>
              <a:t>capabilities on the ingress level within and around Azure.  The primary destination is Service Bus &amp; Event Hubs, but this relies on client agent technology either at the edge device level or within a field or cloud gateway. We also have capabilities for other external data sources to provide data </a:t>
            </a:r>
          </a:p>
          <a:p>
            <a:pPr marL="171450" indent="-171450">
              <a:buFont typeface="Arial" panose="020B0604020202020204" pitchFamily="34" charset="0"/>
              <a:buChar char="•"/>
            </a:pPr>
            <a:r>
              <a:rPr lang="en-US" baseline="0" dirty="0" smtClean="0"/>
              <a:t>As data is </a:t>
            </a:r>
            <a:r>
              <a:rPr lang="en-US" baseline="0" dirty="0" err="1" smtClean="0"/>
              <a:t>ingressed</a:t>
            </a:r>
            <a:r>
              <a:rPr lang="en-US" baseline="0" dirty="0" smtClean="0"/>
              <a:t> to Azure, there are various </a:t>
            </a:r>
            <a:r>
              <a:rPr lang="en-US" b="1" baseline="0" dirty="0" smtClean="0"/>
              <a:t>Storage</a:t>
            </a:r>
            <a:r>
              <a:rPr lang="en-US" baseline="0" dirty="0" smtClean="0"/>
              <a:t> options there can be a number of destinations engaged.  Traditional database technology, table or blob, or even more complex destinations like Document DB are possible.  External or third party technologies can also be used.  This is where the flexibility and agility of a platform shows its strength,  This is where analysts like Gartner are forming opinions about just how robust our platform can be.</a:t>
            </a:r>
          </a:p>
          <a:p>
            <a:pPr marL="171450" indent="-171450">
              <a:buFont typeface="Arial" panose="020B0604020202020204" pitchFamily="34" charset="0"/>
              <a:buChar char="•"/>
            </a:pPr>
            <a:r>
              <a:rPr lang="en-US" baseline="0" dirty="0" smtClean="0"/>
              <a:t>As this data is processed in Azure, there are a number of capabilities that can be utilized.  Machine Learning, HD Insight, Stream Analytics are examples of tools that can </a:t>
            </a:r>
            <a:r>
              <a:rPr lang="en-US" b="1" baseline="0" dirty="0" smtClean="0"/>
              <a:t>analytics </a:t>
            </a:r>
            <a:r>
              <a:rPr lang="en-US" baseline="0" dirty="0" smtClean="0"/>
              <a:t>the data in various ways.</a:t>
            </a:r>
          </a:p>
          <a:p>
            <a:pPr marL="171450" indent="-171450">
              <a:buFont typeface="Arial" panose="020B0604020202020204" pitchFamily="34" charset="0"/>
              <a:buChar char="•"/>
            </a:pPr>
            <a:r>
              <a:rPr lang="en-US" baseline="0" dirty="0" smtClean="0"/>
              <a:t>Finally the concept of </a:t>
            </a:r>
            <a:r>
              <a:rPr lang="en-US" b="1" baseline="0" dirty="0" smtClean="0"/>
              <a:t>Take Actions </a:t>
            </a:r>
            <a:r>
              <a:rPr lang="en-US" baseline="0" dirty="0" smtClean="0"/>
              <a:t>uses Azure services. Data may populate a LOB portal, be pushed to apps, or presented in analytics and productivity tools.  These are all ways that the data gets out of these architecture points to allow organizations to use analysis to change / transform their business.</a:t>
            </a:r>
          </a:p>
          <a:p>
            <a:pPr marL="171450" indent="-171450">
              <a:buFont typeface="Arial" panose="020B0604020202020204" pitchFamily="34" charset="0"/>
              <a:buChar char="•"/>
            </a:pPr>
            <a:r>
              <a:rPr lang="en-US" dirty="0" smtClean="0"/>
              <a:t>Through all of these areas,</a:t>
            </a:r>
            <a:r>
              <a:rPr lang="en-US" baseline="0" dirty="0" smtClean="0"/>
              <a:t> there is the possibility of utilizing existing investments either within your Azure environment, or elsewhere.  </a:t>
            </a:r>
            <a:endParaRPr lang="en-US" dirty="0" smtClean="0"/>
          </a:p>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914400">
              <a:defRPr/>
            </a:pPr>
            <a:fld id="{0E0F7949-8AE9-4E5C-A2B1-913685B47E3F}" type="slidenum">
              <a:rPr lang="en-US" smtClean="0">
                <a:solidFill>
                  <a:prstClr val="black"/>
                </a:solidFill>
                <a:latin typeface="Calibri" panose="020F0502020204030204"/>
              </a:rPr>
              <a:pPr defTabSz="914400">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208887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mn-lt"/>
                <a:ea typeface="+mn-ea"/>
                <a:cs typeface="+mn-cs"/>
              </a:rPr>
              <a:t>At convergence</a:t>
            </a:r>
            <a:r>
              <a:rPr lang="en-US" sz="1200" i="0" kern="1200" baseline="0" dirty="0" smtClean="0">
                <a:solidFill>
                  <a:schemeClr val="tx1"/>
                </a:solidFill>
                <a:effectLst/>
                <a:latin typeface="+mn-lt"/>
                <a:ea typeface="+mn-ea"/>
                <a:cs typeface="+mn-cs"/>
              </a:rPr>
              <a:t> we announced the Azure IoT suite. This is a set of services specifically designed to help you manage IoT scenario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ur initial applications</a:t>
            </a:r>
            <a:r>
              <a:rPr lang="en-US" sz="1200" kern="1200" baseline="0" dirty="0" smtClean="0">
                <a:solidFill>
                  <a:schemeClr val="tx1"/>
                </a:solidFill>
                <a:effectLst/>
                <a:latin typeface="+mn-lt"/>
                <a:ea typeface="+mn-ea"/>
                <a:cs typeface="+mn-cs"/>
              </a:rPr>
              <a:t> will include: </a:t>
            </a:r>
            <a:endParaRPr lang="en-US" sz="1200" b="1"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emote monitoring:</a:t>
            </a:r>
          </a:p>
          <a:p>
            <a:pPr lvl="2"/>
            <a:r>
              <a:rPr lang="en-US" sz="1200" kern="1200" dirty="0" smtClean="0">
                <a:solidFill>
                  <a:schemeClr val="tx1"/>
                </a:solidFill>
                <a:effectLst/>
                <a:latin typeface="+mn-lt"/>
                <a:ea typeface="+mn-ea"/>
                <a:cs typeface="+mn-cs"/>
              </a:rPr>
              <a:t>Obtain insights on asset utilization and get alerts of conditions important to your business</a:t>
            </a:r>
          </a:p>
          <a:p>
            <a:pPr lvl="1"/>
            <a:r>
              <a:rPr lang="en-US" sz="1200" kern="1200" dirty="0" smtClean="0">
                <a:solidFill>
                  <a:schemeClr val="tx1"/>
                </a:solidFill>
                <a:effectLst/>
                <a:latin typeface="+mn-lt"/>
                <a:ea typeface="+mn-ea"/>
                <a:cs typeface="+mn-cs"/>
              </a:rPr>
              <a:t>Asset management:</a:t>
            </a:r>
          </a:p>
          <a:p>
            <a:pPr lvl="2"/>
            <a:r>
              <a:rPr lang="en-US" sz="1200" kern="1200" dirty="0" smtClean="0">
                <a:solidFill>
                  <a:schemeClr val="tx1"/>
                </a:solidFill>
                <a:effectLst/>
                <a:latin typeface="+mn-lt"/>
                <a:ea typeface="+mn-ea"/>
                <a:cs typeface="+mn-cs"/>
              </a:rPr>
              <a:t>Manage and control your assets through a centralized management portal. </a:t>
            </a:r>
          </a:p>
          <a:p>
            <a:pPr lvl="1"/>
            <a:r>
              <a:rPr lang="en-US" sz="1200" kern="1200" dirty="0" smtClean="0">
                <a:solidFill>
                  <a:schemeClr val="tx1"/>
                </a:solidFill>
                <a:effectLst/>
                <a:latin typeface="+mn-lt"/>
                <a:ea typeface="+mn-ea"/>
                <a:cs typeface="+mn-cs"/>
              </a:rPr>
              <a:t>Predictive maintenance:</a:t>
            </a:r>
          </a:p>
          <a:p>
            <a:pPr lvl="2"/>
            <a:r>
              <a:rPr lang="en-US" sz="1200" kern="1200" dirty="0" smtClean="0">
                <a:solidFill>
                  <a:schemeClr val="tx1"/>
                </a:solidFill>
                <a:effectLst/>
                <a:latin typeface="+mn-lt"/>
                <a:ea typeface="+mn-ea"/>
                <a:cs typeface="+mn-cs"/>
              </a:rPr>
              <a:t>Leverage data collected from your assets to train and publish predictive models to avoid costly down-time</a:t>
            </a:r>
          </a:p>
          <a:p>
            <a:pPr lvl="1"/>
            <a:r>
              <a:rPr lang="en-US" sz="1200" kern="1200" dirty="0" smtClean="0">
                <a:solidFill>
                  <a:schemeClr val="tx1"/>
                </a:solidFill>
                <a:effectLst/>
                <a:latin typeface="+mn-lt"/>
                <a:ea typeface="+mn-ea"/>
                <a:cs typeface="+mn-cs"/>
              </a:rPr>
              <a:t>And</a:t>
            </a:r>
            <a:r>
              <a:rPr lang="en-US" sz="1200" kern="1200" baseline="0" dirty="0" smtClean="0">
                <a:solidFill>
                  <a:schemeClr val="tx1"/>
                </a:solidFill>
                <a:effectLst/>
                <a:latin typeface="+mn-lt"/>
                <a:ea typeface="+mn-ea"/>
                <a:cs typeface="+mn-cs"/>
              </a:rPr>
              <a:t> we will have many future applications over time.  </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C1E1D8D-1204-4C11-9A99-DC3CBA832A7C}" type="slidenum">
              <a:rPr lang="en-US" smtClean="0"/>
              <a:t>15</a:t>
            </a:fld>
            <a:endParaRPr lang="en-US"/>
          </a:p>
        </p:txBody>
      </p:sp>
    </p:spTree>
    <p:extLst>
      <p:ext uri="{BB962C8B-B14F-4D97-AF65-F5344CB8AC3E}">
        <p14:creationId xmlns:p14="http://schemas.microsoft.com/office/powerpoint/2010/main" val="2357703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sley</a:t>
            </a:r>
            <a:r>
              <a:rPr lang="en-US" baseline="0" dirty="0" smtClean="0"/>
              <a:t> has just realized some of the </a:t>
            </a:r>
            <a:r>
              <a:rPr lang="en-US" baseline="0" dirty="0" err="1" smtClean="0"/>
              <a:t>nanites</a:t>
            </a:r>
            <a:r>
              <a:rPr lang="en-US" baseline="0" dirty="0" smtClean="0"/>
              <a:t> have gone missing</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6</a:t>
            </a:fld>
            <a:endParaRPr lang="en-AU"/>
          </a:p>
        </p:txBody>
      </p:sp>
    </p:spTree>
    <p:extLst>
      <p:ext uri="{BB962C8B-B14F-4D97-AF65-F5344CB8AC3E}">
        <p14:creationId xmlns:p14="http://schemas.microsoft.com/office/powerpoint/2010/main" val="4227842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ir goal is within 5 years to be at 100%.</a:t>
            </a:r>
          </a:p>
          <a:p>
            <a:endParaRPr lang="en-US" dirty="0" smtClean="0"/>
          </a:p>
          <a:p>
            <a:r>
              <a:rPr lang="en-US" dirty="0" smtClean="0"/>
              <a:t>Samsung makes </a:t>
            </a:r>
            <a:r>
              <a:rPr lang="en-US" b="1" dirty="0" smtClean="0"/>
              <a:t>20 devices per second</a:t>
            </a:r>
            <a:r>
              <a:rPr lang="en-US" dirty="0" smtClean="0"/>
              <a:t>. This is big news.</a:t>
            </a:r>
          </a:p>
          <a:p>
            <a:endParaRPr lang="en-US" dirty="0" smtClean="0"/>
          </a:p>
          <a:p>
            <a:r>
              <a:rPr lang="en-US" dirty="0" smtClean="0"/>
              <a:t>IoT</a:t>
            </a:r>
            <a:r>
              <a:rPr lang="en-US" baseline="0" dirty="0" smtClean="0"/>
              <a:t> cost approaches zero.</a:t>
            </a:r>
          </a:p>
          <a:p>
            <a:endParaRPr lang="en-US" baseline="0" dirty="0" smtClean="0"/>
          </a:p>
          <a:p>
            <a:r>
              <a:rPr lang="en-US" baseline="0" dirty="0" smtClean="0"/>
              <a:t>Ok, maybe IoT is important.</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18</a:t>
            </a:fld>
            <a:endParaRPr lang="en-AU"/>
          </a:p>
        </p:txBody>
      </p:sp>
    </p:spTree>
    <p:extLst>
      <p:ext uri="{BB962C8B-B14F-4D97-AF65-F5344CB8AC3E}">
        <p14:creationId xmlns:p14="http://schemas.microsoft.com/office/powerpoint/2010/main" val="930139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use Windows?</a:t>
            </a:r>
          </a:p>
          <a:p>
            <a:endParaRPr lang="en-US" dirty="0" smtClean="0"/>
          </a:p>
          <a:p>
            <a:r>
              <a:rPr lang="en-US" dirty="0" smtClean="0"/>
              <a:t>Run universal apps</a:t>
            </a:r>
          </a:p>
          <a:p>
            <a:r>
              <a:rPr lang="en-US" dirty="0" smtClean="0"/>
              <a:t>Share your codebas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9</a:t>
            </a:fld>
            <a:endParaRPr lang="en-AU"/>
          </a:p>
        </p:txBody>
      </p:sp>
    </p:spTree>
    <p:extLst>
      <p:ext uri="{BB962C8B-B14F-4D97-AF65-F5344CB8AC3E}">
        <p14:creationId xmlns:p14="http://schemas.microsoft.com/office/powerpoint/2010/main" val="2280819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provides a central, scalable location to push data</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0</a:t>
            </a:fld>
            <a:endParaRPr lang="en-AU"/>
          </a:p>
        </p:txBody>
      </p:sp>
    </p:spTree>
    <p:extLst>
      <p:ext uri="{BB962C8B-B14F-4D97-AF65-F5344CB8AC3E}">
        <p14:creationId xmlns:p14="http://schemas.microsoft.com/office/powerpoint/2010/main" val="4070255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re supporting </a:t>
            </a:r>
            <a:r>
              <a:rPr lang="en-US" dirty="0" err="1" smtClean="0"/>
              <a:t>AllJoyn</a:t>
            </a:r>
            <a:r>
              <a:rPr lang="en-US" dirty="0" smtClean="0"/>
              <a:t> in Windows 10.</a:t>
            </a:r>
          </a:p>
          <a:p>
            <a:endParaRPr lang="en-US" dirty="0" smtClean="0"/>
          </a:p>
          <a:p>
            <a:r>
              <a:rPr lang="en-US" dirty="0" err="1" smtClean="0"/>
              <a:t>AllJoyn</a:t>
            </a:r>
            <a:r>
              <a:rPr lang="en-US" baseline="0" dirty="0" smtClean="0"/>
              <a:t> is a protocol that enables devices to interoperat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1</a:t>
            </a:fld>
            <a:endParaRPr lang="en-AU"/>
          </a:p>
        </p:txBody>
      </p:sp>
    </p:spTree>
    <p:extLst>
      <p:ext uri="{BB962C8B-B14F-4D97-AF65-F5344CB8AC3E}">
        <p14:creationId xmlns:p14="http://schemas.microsoft.com/office/powerpoint/2010/main" val="1539409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 you know what your top consumers of electricity</a:t>
            </a:r>
            <a:r>
              <a:rPr lang="en-US" baseline="0" dirty="0" smtClean="0"/>
              <a:t> are?</a:t>
            </a:r>
          </a:p>
          <a:p>
            <a:r>
              <a:rPr lang="en-US" baseline="0" dirty="0" smtClean="0"/>
              <a:t>Do you know if replacing your refrigerator would pay for itself?</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a:t>
            </a:fld>
            <a:endParaRPr lang="en-AU"/>
          </a:p>
        </p:txBody>
      </p:sp>
    </p:spTree>
    <p:extLst>
      <p:ext uri="{BB962C8B-B14F-4D97-AF65-F5344CB8AC3E}">
        <p14:creationId xmlns:p14="http://schemas.microsoft.com/office/powerpoint/2010/main" val="2481500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products</a:t>
            </a:r>
            <a:r>
              <a:rPr lang="en-US" baseline="0" dirty="0" smtClean="0"/>
              <a:t> that abstract the protocols away, and focus on activities</a:t>
            </a:r>
          </a:p>
          <a:p>
            <a:endParaRPr lang="en-US" baseline="0" dirty="0" smtClean="0"/>
          </a:p>
          <a:p>
            <a:r>
              <a:rPr lang="en-US" baseline="0" dirty="0" smtClean="0"/>
              <a:t>Most importantly, they focus on the user</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2</a:t>
            </a:fld>
            <a:endParaRPr lang="en-AU"/>
          </a:p>
        </p:txBody>
      </p:sp>
    </p:spTree>
    <p:extLst>
      <p:ext uri="{BB962C8B-B14F-4D97-AF65-F5344CB8AC3E}">
        <p14:creationId xmlns:p14="http://schemas.microsoft.com/office/powerpoint/2010/main" val="116048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publisher has a SAS token that defines the policy and expiration</a:t>
            </a:r>
          </a:p>
          <a:p>
            <a:endParaRPr lang="en-US" dirty="0" smtClean="0"/>
          </a:p>
          <a:p>
            <a:r>
              <a:rPr lang="en-US" dirty="0" smtClean="0"/>
              <a:t>This</a:t>
            </a:r>
            <a:r>
              <a:rPr lang="en-US" baseline="0" dirty="0" smtClean="0"/>
              <a:t> is PER event hub</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23</a:t>
            </a:fld>
            <a:endParaRPr lang="en-AU"/>
          </a:p>
        </p:txBody>
      </p:sp>
    </p:spTree>
    <p:extLst>
      <p:ext uri="{BB962C8B-B14F-4D97-AF65-F5344CB8AC3E}">
        <p14:creationId xmlns:p14="http://schemas.microsoft.com/office/powerpoint/2010/main" val="1928096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1</a:t>
            </a:fld>
            <a:endParaRPr lang="en-AU"/>
          </a:p>
        </p:txBody>
      </p:sp>
    </p:spTree>
    <p:extLst>
      <p:ext uri="{BB962C8B-B14F-4D97-AF65-F5344CB8AC3E}">
        <p14:creationId xmlns:p14="http://schemas.microsoft.com/office/powerpoint/2010/main" val="3642622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2</a:t>
            </a:fld>
            <a:endParaRPr lang="en-AU"/>
          </a:p>
        </p:txBody>
      </p:sp>
    </p:spTree>
    <p:extLst>
      <p:ext uri="{BB962C8B-B14F-4D97-AF65-F5344CB8AC3E}">
        <p14:creationId xmlns:p14="http://schemas.microsoft.com/office/powerpoint/2010/main" val="814367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3</a:t>
            </a:fld>
            <a:endParaRPr lang="en-AU"/>
          </a:p>
        </p:txBody>
      </p:sp>
    </p:spTree>
    <p:extLst>
      <p:ext uri="{BB962C8B-B14F-4D97-AF65-F5344CB8AC3E}">
        <p14:creationId xmlns:p14="http://schemas.microsoft.com/office/powerpoint/2010/main" val="3949795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4</a:t>
            </a:fld>
            <a:endParaRPr lang="en-AU"/>
          </a:p>
        </p:txBody>
      </p:sp>
    </p:spTree>
    <p:extLst>
      <p:ext uri="{BB962C8B-B14F-4D97-AF65-F5344CB8AC3E}">
        <p14:creationId xmlns:p14="http://schemas.microsoft.com/office/powerpoint/2010/main" val="2465730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doesn’t look good. Wesley is still looking for the </a:t>
            </a:r>
            <a:r>
              <a:rPr lang="en-US" baseline="0" dirty="0" err="1" smtClean="0"/>
              <a:t>nanite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5</a:t>
            </a:fld>
            <a:endParaRPr lang="en-AU"/>
          </a:p>
        </p:txBody>
      </p:sp>
    </p:spTree>
    <p:extLst>
      <p:ext uri="{BB962C8B-B14F-4D97-AF65-F5344CB8AC3E}">
        <p14:creationId xmlns:p14="http://schemas.microsoft.com/office/powerpoint/2010/main" val="3025228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loud provides a scalable, reliable place to store data</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6</a:t>
            </a:fld>
            <a:endParaRPr lang="en-AU"/>
          </a:p>
        </p:txBody>
      </p:sp>
    </p:spTree>
    <p:extLst>
      <p:ext uri="{BB962C8B-B14F-4D97-AF65-F5344CB8AC3E}">
        <p14:creationId xmlns:p14="http://schemas.microsoft.com/office/powerpoint/2010/main" val="1529246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reate SQL database</a:t>
            </a:r>
          </a:p>
          <a:p>
            <a:pPr marL="171450" indent="-171450">
              <a:buFont typeface="Arial" panose="020B0604020202020204" pitchFamily="34" charset="0"/>
              <a:buChar char="•"/>
            </a:pPr>
            <a:r>
              <a:rPr lang="en-US" dirty="0" smtClean="0"/>
              <a:t>Create analytics stream</a:t>
            </a:r>
          </a:p>
          <a:p>
            <a:pPr marL="171450" indent="-171450">
              <a:buFont typeface="Arial" panose="020B0604020202020204" pitchFamily="34" charset="0"/>
              <a:buChar char="•"/>
            </a:pPr>
            <a:r>
              <a:rPr lang="en-US" dirty="0" smtClean="0"/>
              <a:t>Connect</a:t>
            </a:r>
            <a:r>
              <a:rPr lang="en-US" baseline="0" dirty="0" smtClean="0"/>
              <a:t> to the databas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DocumentDB is a cloud-native JSON document stor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7</a:t>
            </a:fld>
            <a:endParaRPr lang="en-AU"/>
          </a:p>
        </p:txBody>
      </p:sp>
    </p:spTree>
    <p:extLst>
      <p:ext uri="{BB962C8B-B14F-4D97-AF65-F5344CB8AC3E}">
        <p14:creationId xmlns:p14="http://schemas.microsoft.com/office/powerpoint/2010/main" val="30947362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provides a scalable solution for doing big data analytics and on-demand queries</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8</a:t>
            </a:fld>
            <a:endParaRPr lang="en-AU"/>
          </a:p>
        </p:txBody>
      </p:sp>
    </p:spTree>
    <p:extLst>
      <p:ext uri="{BB962C8B-B14F-4D97-AF65-F5344CB8AC3E}">
        <p14:creationId xmlns:p14="http://schemas.microsoft.com/office/powerpoint/2010/main" val="330041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 you know when something</a:t>
            </a:r>
            <a:r>
              <a:rPr lang="en-US" baseline="0" dirty="0" smtClean="0"/>
              <a:t> is going to fail in your car?</a:t>
            </a:r>
          </a:p>
          <a:p>
            <a:r>
              <a:rPr lang="en-US" baseline="0" dirty="0" smtClean="0"/>
              <a:t>Does your mechanic?</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a:t>
            </a:fld>
            <a:endParaRPr lang="en-AU"/>
          </a:p>
        </p:txBody>
      </p:sp>
    </p:spTree>
    <p:extLst>
      <p:ext uri="{BB962C8B-B14F-4D97-AF65-F5344CB8AC3E}">
        <p14:creationId xmlns:p14="http://schemas.microsoft.com/office/powerpoint/2010/main" val="31270187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alytics is the process</a:t>
            </a:r>
            <a:r>
              <a:rPr lang="en-US" baseline="0" dirty="0" smtClean="0"/>
              <a:t> of taking all of the data that used to go unused, and turn it into information, knowledge, and wisdom.</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9</a:t>
            </a:fld>
            <a:endParaRPr lang="en-AU"/>
          </a:p>
        </p:txBody>
      </p:sp>
    </p:spTree>
    <p:extLst>
      <p:ext uri="{BB962C8B-B14F-4D97-AF65-F5344CB8AC3E}">
        <p14:creationId xmlns:p14="http://schemas.microsoft.com/office/powerpoint/2010/main" val="35749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tput to another event hub, blob</a:t>
            </a:r>
            <a:r>
              <a:rPr lang="en-US" baseline="0" dirty="0" smtClean="0"/>
              <a:t> storage, or SQL databas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0</a:t>
            </a:fld>
            <a:endParaRPr lang="en-AU"/>
          </a:p>
        </p:txBody>
      </p:sp>
    </p:spTree>
    <p:extLst>
      <p:ext uri="{BB962C8B-B14F-4D97-AF65-F5344CB8AC3E}">
        <p14:creationId xmlns:p14="http://schemas.microsoft.com/office/powerpoint/2010/main" val="3042341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use cases is</a:t>
            </a:r>
            <a:r>
              <a:rPr lang="en-US" b="1" dirty="0" smtClean="0"/>
              <a:t> predictive</a:t>
            </a:r>
            <a:r>
              <a:rPr lang="en-US" baseline="0" dirty="0" smtClean="0"/>
              <a:t> </a:t>
            </a:r>
            <a:r>
              <a:rPr lang="en-US" baseline="0" dirty="0" err="1" smtClean="0"/>
              <a:t>mabintenance</a:t>
            </a:r>
            <a:endParaRPr lang="en-US" dirty="0" smtClean="0"/>
          </a:p>
          <a:p>
            <a:endParaRPr lang="en-US" dirty="0" smtClean="0"/>
          </a:p>
          <a:p>
            <a:r>
              <a:rPr lang="en-US" dirty="0" smtClean="0"/>
              <a:t>Read </a:t>
            </a:r>
            <a:r>
              <a:rPr lang="en-US" dirty="0" smtClean="0"/>
              <a:t>this: http://www.citeworld.com/article/2366161/big-data-analytics/microsoft-azure-ml-overview.html</a:t>
            </a:r>
          </a:p>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1</a:t>
            </a:fld>
            <a:endParaRPr lang="en-AU"/>
          </a:p>
        </p:txBody>
      </p:sp>
    </p:spTree>
    <p:extLst>
      <p:ext uri="{BB962C8B-B14F-4D97-AF65-F5344CB8AC3E}">
        <p14:creationId xmlns:p14="http://schemas.microsoft.com/office/powerpoint/2010/main" val="3264565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2</a:t>
            </a:fld>
            <a:endParaRPr lang="en-AU"/>
          </a:p>
        </p:txBody>
      </p:sp>
    </p:spTree>
    <p:extLst>
      <p:ext uri="{BB962C8B-B14F-4D97-AF65-F5344CB8AC3E}">
        <p14:creationId xmlns:p14="http://schemas.microsoft.com/office/powerpoint/2010/main" val="18330494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plicators are going haywir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3</a:t>
            </a:fld>
            <a:endParaRPr lang="en-AU"/>
          </a:p>
        </p:txBody>
      </p:sp>
    </p:spTree>
    <p:extLst>
      <p:ext uri="{BB962C8B-B14F-4D97-AF65-F5344CB8AC3E}">
        <p14:creationId xmlns:p14="http://schemas.microsoft.com/office/powerpoint/2010/main" val="34848221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Manufacturing Plant</a:t>
            </a:r>
          </a:p>
          <a:p>
            <a:pPr marL="171450" indent="-171450" rtl="0" fontAlgn="ctr">
              <a:buFont typeface="Arial" panose="020B0604020202020204" pitchFamily="34" charset="0"/>
              <a:buChar char="•"/>
            </a:pPr>
            <a:r>
              <a:rPr lang="en-US" sz="1200" b="0" kern="1200" baseline="0" dirty="0" smtClean="0">
                <a:solidFill>
                  <a:schemeClr val="tx1"/>
                </a:solidFill>
                <a:effectLst/>
                <a:latin typeface="+mn-lt"/>
                <a:ea typeface="+mn-ea"/>
                <a:cs typeface="+mn-cs"/>
              </a:rPr>
              <a:t>M</a:t>
            </a:r>
            <a:r>
              <a:rPr lang="en-US" sz="1200" kern="1200" dirty="0" smtClean="0">
                <a:solidFill>
                  <a:schemeClr val="tx1"/>
                </a:solidFill>
                <a:effectLst/>
                <a:latin typeface="+mn-lt"/>
                <a:ea typeface="+mn-ea"/>
                <a:cs typeface="+mn-cs"/>
              </a:rPr>
              <a:t>anage</a:t>
            </a:r>
            <a:r>
              <a:rPr lang="en-US" sz="1200" kern="1200" baseline="0" dirty="0" smtClean="0">
                <a:solidFill>
                  <a:schemeClr val="tx1"/>
                </a:solidFill>
                <a:effectLst/>
                <a:latin typeface="+mn-lt"/>
                <a:ea typeface="+mn-ea"/>
                <a:cs typeface="+mn-cs"/>
              </a:rPr>
              <a:t> data remotely from a centralized location and push updates and key notifications to the factory floor, making relevant information available to manufacturing employee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Monitor whether components are arriving at the plant floor as expected, and slow production if needed to reduce or eliminate excess work-in-process inventory</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edefine rules for equipment use and plant management (e.g. shut down production or equipment based on demand or environmental data), to optimize productivity and profitability</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stablish predictive maintenance schedules - with planned maintenance, cost of operations can be reduced and throughput can be increased</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Identify and correct quality issues – with IoT and the ability to perform Big Data analytics, manufacturers can increase the number of quality checks that are performed, collect more quality inspection data and analyze more data than ever before. This enables them to spot defect patterns, and correct them more quickly. This also enables manufacturers to create predictive algorithms so that times/places where quality issues may occur are identified ahead of time. (e.g. extra humid day might imply more likelihood of quality issue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ustomer Site and Third-Party</a:t>
            </a:r>
            <a:r>
              <a:rPr lang="en-US" sz="1200" b="1" kern="1200" baseline="0" dirty="0" smtClean="0">
                <a:solidFill>
                  <a:schemeClr val="tx1"/>
                </a:solidFill>
                <a:effectLst/>
                <a:latin typeface="+mn-lt"/>
                <a:ea typeface="+mn-ea"/>
                <a:cs typeface="+mn-cs"/>
              </a:rPr>
              <a:t> Logistics</a:t>
            </a:r>
            <a:endParaRPr lang="en-US" sz="1200" b="1"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ntinue to collect data from products once</a:t>
            </a:r>
            <a:r>
              <a:rPr lang="en-US" sz="1200" kern="1200" baseline="0" dirty="0" smtClean="0">
                <a:solidFill>
                  <a:schemeClr val="tx1"/>
                </a:solidFill>
                <a:effectLst/>
                <a:latin typeface="+mn-lt"/>
                <a:ea typeface="+mn-ea"/>
                <a:cs typeface="+mn-cs"/>
              </a:rPr>
              <a:t> they leave the factory floor (e.g. throughout the distribution process and once implemented into customer sites) to help drive predictive maintenance and inform product improvements </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g. a water pump could send data indicating that it will break down in 2-3 weeks. An analyst at the customer’s OEM or service provider could determine whether the pump is in need of simple repairs, or whether it makes sense to refurbish it. The analyst could also identify a spare parts promotion that the customer could take advantage of so the customer is prepared for future maintenance need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Access more data than ever before and integrate with 3</a:t>
            </a:r>
            <a:r>
              <a:rPr lang="en-US" sz="1200" kern="1200" baseline="30000" dirty="0" smtClean="0">
                <a:solidFill>
                  <a:schemeClr val="tx1"/>
                </a:solidFill>
                <a:effectLst/>
                <a:latin typeface="+mn-lt"/>
                <a:ea typeface="+mn-ea"/>
                <a:cs typeface="+mn-cs"/>
              </a:rPr>
              <a:t>rd</a:t>
            </a:r>
            <a:r>
              <a:rPr lang="en-US" sz="1200" kern="1200" baseline="0" dirty="0" smtClean="0">
                <a:solidFill>
                  <a:schemeClr val="tx1"/>
                </a:solidFill>
                <a:effectLst/>
                <a:latin typeface="+mn-lt"/>
                <a:ea typeface="+mn-ea"/>
                <a:cs typeface="+mn-cs"/>
              </a:rPr>
              <a:t> party syndicated data to improve process and quality control (e.g. use data on regional weather patterns to determine locations where weather conditions will result in higher demand, or view data about fuel and other input prices to predict profit margin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ovide ‘single pane of glass’ visibility across all distribution/sales channels – this enables better inventory management and savings on logistics and distribution costs because the full channel would know would where products are, so redundancies can be reduced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Global Operation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powerful BI tools – derive business insights from Big Data analytic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Make data available to the right individuals for a variety of purposes based on role, such as product development, facility and device servicing, or business and operations management</a:t>
            </a:r>
            <a:endParaRPr lang="en-US" b="1" baseline="0" dirty="0" smtClean="0"/>
          </a:p>
        </p:txBody>
      </p:sp>
      <p:sp>
        <p:nvSpPr>
          <p:cNvPr id="4" name="Slide Number Placeholder 3"/>
          <p:cNvSpPr>
            <a:spLocks noGrp="1"/>
          </p:cNvSpPr>
          <p:nvPr>
            <p:ph type="sldNum" sz="quarter" idx="10"/>
          </p:nvPr>
        </p:nvSpPr>
        <p:spPr/>
        <p:txBody>
          <a:bodyPr/>
          <a:lstStyle/>
          <a:p>
            <a:fld id="{18269D8A-B09A-4BAD-8E2F-54EE9DD79BDF}"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1178648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6</a:t>
            </a:fld>
            <a:endParaRPr lang="en-AU"/>
          </a:p>
        </p:txBody>
      </p:sp>
    </p:spTree>
    <p:extLst>
      <p:ext uri="{BB962C8B-B14F-4D97-AF65-F5344CB8AC3E}">
        <p14:creationId xmlns:p14="http://schemas.microsoft.com/office/powerpoint/2010/main" val="4100316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a:t>
            </a:r>
            <a:r>
              <a:rPr lang="en-US" baseline="0" dirty="0" smtClean="0"/>
              <a:t>TheDots.io</a:t>
            </a:r>
            <a:endParaRPr lang="en-US" dirty="0" smtClean="0"/>
          </a:p>
          <a:p>
            <a:endParaRPr lang="en-US" dirty="0" smtClean="0"/>
          </a:p>
          <a:p>
            <a:r>
              <a:rPr lang="en-US" dirty="0" smtClean="0"/>
              <a:t>This is a great solution for hackathons</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7</a:t>
            </a:fld>
            <a:endParaRPr lang="en-AU"/>
          </a:p>
        </p:txBody>
      </p:sp>
    </p:spTree>
    <p:extLst>
      <p:ext uri="{BB962C8B-B14F-4D97-AF65-F5344CB8AC3E}">
        <p14:creationId xmlns:p14="http://schemas.microsoft.com/office/powerpoint/2010/main" val="13296362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ufacturing generates more data than any other industry. There is so much low </a:t>
            </a:r>
            <a:r>
              <a:rPr lang="en-US" smtClean="0"/>
              <a:t>hanging frui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9</a:t>
            </a:fld>
            <a:endParaRPr lang="en-AU"/>
          </a:p>
        </p:txBody>
      </p:sp>
    </p:spTree>
    <p:extLst>
      <p:ext uri="{BB962C8B-B14F-4D97-AF65-F5344CB8AC3E}">
        <p14:creationId xmlns:p14="http://schemas.microsoft.com/office/powerpoint/2010/main" val="14442577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err="1" smtClean="0"/>
              <a:t>nanites</a:t>
            </a:r>
            <a:r>
              <a:rPr lang="en-US" dirty="0" smtClean="0"/>
              <a:t> needed</a:t>
            </a:r>
            <a:r>
              <a:rPr lang="en-US" baseline="0" dirty="0" smtClean="0"/>
              <a:t> a way to communicate, so they aggregated within data. A private cloud of sorts.</a:t>
            </a:r>
          </a:p>
          <a:p>
            <a:endParaRPr lang="en-US" baseline="0" dirty="0" smtClean="0"/>
          </a:p>
          <a:p>
            <a:r>
              <a:rPr lang="en-US" baseline="0" dirty="0" smtClean="0"/>
              <a:t>This is the future. Devices talking with each other directly, as well as communicating externally in an organized fashion.</a:t>
            </a:r>
          </a:p>
          <a:p>
            <a:endParaRPr lang="en-US" baseline="0" dirty="0" smtClean="0"/>
          </a:p>
          <a:p>
            <a:r>
              <a:rPr lang="en-US" baseline="0" dirty="0" smtClean="0"/>
              <a:t>Appliances talking together deciding when to run to save money</a:t>
            </a:r>
          </a:p>
          <a:p>
            <a:r>
              <a:rPr lang="en-US" baseline="0" dirty="0" smtClean="0"/>
              <a:t>Fire alarms working together to save lives</a:t>
            </a:r>
          </a:p>
          <a:p>
            <a:r>
              <a:rPr lang="en-US" baseline="0" dirty="0" smtClean="0"/>
              <a:t>Businesses coordinating production hours to avoid power brownouts</a:t>
            </a:r>
          </a:p>
          <a:p>
            <a:r>
              <a:rPr lang="en-US" baseline="0" dirty="0" smtClean="0"/>
              <a:t>Manufacturing plant equipment coordinating order production</a:t>
            </a:r>
          </a:p>
          <a:p>
            <a:r>
              <a:rPr lang="en-US" baseline="0" dirty="0" smtClean="0"/>
              <a:t>Traffic cameras warning drivers about delays via GPS and billboards</a:t>
            </a:r>
          </a:p>
          <a:p>
            <a:r>
              <a:rPr lang="en-US" baseline="0" dirty="0" smtClean="0"/>
              <a:t>Doctors can view my historical medical stats while I’m on my way</a:t>
            </a:r>
          </a:p>
        </p:txBody>
      </p:sp>
      <p:sp>
        <p:nvSpPr>
          <p:cNvPr id="4" name="Slide Number Placeholder 3"/>
          <p:cNvSpPr>
            <a:spLocks noGrp="1"/>
          </p:cNvSpPr>
          <p:nvPr>
            <p:ph type="sldNum" sz="quarter" idx="10"/>
          </p:nvPr>
        </p:nvSpPr>
        <p:spPr/>
        <p:txBody>
          <a:bodyPr/>
          <a:lstStyle/>
          <a:p>
            <a:fld id="{716ADE6C-1B6B-435D-8521-5097B11251C3}" type="slidenum">
              <a:rPr lang="en-AU" smtClean="0"/>
              <a:t>51</a:t>
            </a:fld>
            <a:endParaRPr lang="en-AU"/>
          </a:p>
        </p:txBody>
      </p:sp>
    </p:spTree>
    <p:extLst>
      <p:ext uri="{BB962C8B-B14F-4D97-AF65-F5344CB8AC3E}">
        <p14:creationId xmlns:p14="http://schemas.microsoft.com/office/powerpoint/2010/main" val="3454841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a:t>
            </a:fld>
            <a:endParaRPr lang="en-AU"/>
          </a:p>
        </p:txBody>
      </p:sp>
    </p:spTree>
    <p:extLst>
      <p:ext uri="{BB962C8B-B14F-4D97-AF65-F5344CB8AC3E}">
        <p14:creationId xmlns:p14="http://schemas.microsoft.com/office/powerpoint/2010/main" val="805557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52</a:t>
            </a:fld>
            <a:endParaRPr lang="en-AU"/>
          </a:p>
        </p:txBody>
      </p:sp>
    </p:spTree>
    <p:extLst>
      <p:ext uri="{BB962C8B-B14F-4D97-AF65-F5344CB8AC3E}">
        <p14:creationId xmlns:p14="http://schemas.microsoft.com/office/powerpoint/2010/main" val="2530197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ear people tell me that IoT isn’t anything new.</a:t>
            </a:r>
          </a:p>
          <a:p>
            <a:endParaRPr lang="en-US" dirty="0" smtClean="0"/>
          </a:p>
          <a:p>
            <a:r>
              <a:rPr lang="en-US" dirty="0" smtClean="0"/>
              <a:t>So why</a:t>
            </a:r>
            <a:r>
              <a:rPr lang="en-US" baseline="0" dirty="0" smtClean="0"/>
              <a:t> no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5</a:t>
            </a:fld>
            <a:endParaRPr lang="en-AU"/>
          </a:p>
        </p:txBody>
      </p:sp>
    </p:spTree>
    <p:extLst>
      <p:ext uri="{BB962C8B-B14F-4D97-AF65-F5344CB8AC3E}">
        <p14:creationId xmlns:p14="http://schemas.microsoft.com/office/powerpoint/2010/main" val="481784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cause it’s a pain</a:t>
            </a:r>
            <a:r>
              <a:rPr lang="en-US" baseline="0" dirty="0" smtClean="0"/>
              <a:t> in the ass</a:t>
            </a:r>
          </a:p>
          <a:p>
            <a:endParaRPr lang="en-US" baseline="0" dirty="0" smtClean="0"/>
          </a:p>
          <a:p>
            <a:r>
              <a:rPr lang="en-US" baseline="0" dirty="0" smtClean="0"/>
              <a:t>Things don’t work together, and everyone is cookie licking</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6</a:t>
            </a:fld>
            <a:endParaRPr lang="en-AU"/>
          </a:p>
        </p:txBody>
      </p:sp>
    </p:spTree>
    <p:extLst>
      <p:ext uri="{BB962C8B-B14F-4D97-AF65-F5344CB8AC3E}">
        <p14:creationId xmlns:p14="http://schemas.microsoft.com/office/powerpoint/2010/main" val="3107905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elp large ISV’s (independent</a:t>
            </a:r>
            <a:r>
              <a:rPr lang="en-US" baseline="0" dirty="0" smtClean="0"/>
              <a:t> software vendors)</a:t>
            </a:r>
            <a:r>
              <a:rPr lang="en-US" dirty="0" smtClean="0"/>
              <a:t> build or move</a:t>
            </a:r>
            <a:r>
              <a:rPr lang="en-US" baseline="0" dirty="0" smtClean="0"/>
              <a:t> applications to Microsoft Azure.</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7</a:t>
            </a:fld>
            <a:endParaRPr lang="en-AU"/>
          </a:p>
        </p:txBody>
      </p:sp>
    </p:spTree>
    <p:extLst>
      <p:ext uri="{BB962C8B-B14F-4D97-AF65-F5344CB8AC3E}">
        <p14:creationId xmlns:p14="http://schemas.microsoft.com/office/powerpoint/2010/main" val="217509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oT. What a mes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artner says</a:t>
            </a:r>
            <a:r>
              <a:rPr lang="en-US" baseline="0" dirty="0" smtClean="0"/>
              <a:t> that within 6 years, there will be 26 billion “things” online. It won’t take long before there are more IoT devices than compu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e need to figure this ou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8</a:t>
            </a:fld>
            <a:endParaRPr lang="en-AU"/>
          </a:p>
        </p:txBody>
      </p:sp>
    </p:spTree>
    <p:extLst>
      <p:ext uri="{BB962C8B-B14F-4D97-AF65-F5344CB8AC3E}">
        <p14:creationId xmlns:p14="http://schemas.microsoft.com/office/powerpoint/2010/main" val="142762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artner hype</a:t>
            </a:r>
            <a:r>
              <a:rPr lang="en-US" baseline="0" dirty="0" smtClean="0"/>
              <a:t> curve</a:t>
            </a:r>
            <a:endParaRPr lang="en-US" dirty="0" smtClean="0"/>
          </a:p>
          <a:p>
            <a:endParaRPr lang="en-US" dirty="0" smtClean="0"/>
          </a:p>
          <a:p>
            <a:r>
              <a:rPr lang="en-US" dirty="0" smtClean="0"/>
              <a:t>Yes,</a:t>
            </a:r>
            <a:r>
              <a:rPr lang="en-US" baseline="0" dirty="0" smtClean="0"/>
              <a:t> “IoT” is a buzzword.</a:t>
            </a:r>
          </a:p>
          <a:p>
            <a:r>
              <a:rPr lang="en-US" baseline="0" dirty="0" smtClean="0"/>
              <a:t>No, that doesn’t make it meaningless.</a:t>
            </a:r>
          </a:p>
          <a:p>
            <a:r>
              <a:rPr lang="en-US" baseline="0" dirty="0" smtClean="0"/>
              <a:t>Yes, it will be important. VERY importan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5427833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image" Target="../media/image25.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7.xml"/><Relationship Id="rId5" Type="http://schemas.openxmlformats.org/officeDocument/2006/relationships/image" Target="../media/image19.png"/><Relationship Id="rId4" Type="http://schemas.microsoft.com/office/2007/relationships/hdphoto" Target="../media/hdphoto1.wdp"/></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6" y="471123"/>
            <a:ext cx="3693023" cy="791209"/>
          </a:xfrm>
          <a:prstGeom prst="rect">
            <a:avLst/>
          </a:prstGeom>
        </p:spPr>
      </p:pic>
    </p:spTree>
    <p:extLst>
      <p:ext uri="{BB962C8B-B14F-4D97-AF65-F5344CB8AC3E}">
        <p14:creationId xmlns:p14="http://schemas.microsoft.com/office/powerpoint/2010/main" val="4082414648"/>
      </p:ext>
    </p:extLst>
  </p:cSld>
  <p:clrMapOvr>
    <a:masterClrMapping/>
  </p:clrMapOvr>
  <p:transition spd="slow">
    <p:push/>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16769494"/>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588998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792681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7617594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6917711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08634304"/>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4103218"/>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5698768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7684486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3768349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5" y="3878574"/>
            <a:ext cx="8964186" cy="1792326"/>
          </a:xfrm>
          <a:noFill/>
        </p:spPr>
        <p:txBody>
          <a:bodyPr lIns="143381" tIns="107536" rIns="143381" bIns="107536">
            <a:noAutofit/>
          </a:bodyPr>
          <a:lstStyle>
            <a:lvl1pPr marL="0" indent="0">
              <a:spcBef>
                <a:spcPts val="0"/>
              </a:spcBef>
              <a:buNone/>
              <a:defRPr sz="3500"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19482671"/>
      </p:ext>
    </p:extLst>
  </p:cSld>
  <p:clrMapOvr>
    <a:masterClrMapping/>
  </p:clrMapOvr>
  <p:transition spd="slow">
    <p:push/>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81970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81675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364153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84374671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01215252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4555971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0233803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0694121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672405"/>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499033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16" name="Rectangle 15"/>
          <p:cNvSpPr/>
          <p:nvPr userDrawn="1"/>
        </p:nvSpPr>
        <p:spPr bwMode="auto">
          <a:xfrm>
            <a:off x="269239" y="2084172"/>
            <a:ext cx="8964248"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2081647"/>
            <a:ext cx="8964185" cy="1795633"/>
          </a:xfrm>
          <a:noFill/>
        </p:spPr>
        <p:txBody>
          <a:bodyPr lIns="143381" tIns="89614" rIns="143381" bIns="89614" anchor="t" anchorCtr="0"/>
          <a:lstStyle>
            <a:lvl1pPr>
              <a:defRPr sz="5900" spc="-98" baseline="0">
                <a:gradFill>
                  <a:gsLst>
                    <a:gs pos="5833">
                      <a:schemeClr val="tx1"/>
                    </a:gs>
                    <a:gs pos="18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7279"/>
            <a:ext cx="8964185" cy="1793105"/>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5" y="471123"/>
            <a:ext cx="2507472" cy="537212"/>
          </a:xfrm>
          <a:prstGeom prst="rect">
            <a:avLst/>
          </a:prstGeom>
        </p:spPr>
      </p:pic>
    </p:spTree>
    <p:extLst>
      <p:ext uri="{BB962C8B-B14F-4D97-AF65-F5344CB8AC3E}">
        <p14:creationId xmlns:p14="http://schemas.microsoft.com/office/powerpoint/2010/main" val="220487043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hemenfolie_2.1">
    <p:spTree>
      <p:nvGrpSpPr>
        <p:cNvPr id="1" name=""/>
        <p:cNvGrpSpPr/>
        <p:nvPr/>
      </p:nvGrpSpPr>
      <p:grpSpPr>
        <a:xfrm>
          <a:off x="0" y="0"/>
          <a:ext cx="0" cy="0"/>
          <a:chOff x="0" y="0"/>
          <a:chExt cx="0" cy="0"/>
        </a:xfrm>
      </p:grpSpPr>
      <p:sp>
        <p:nvSpPr>
          <p:cNvPr id="12" name="Text Placeholder 5"/>
          <p:cNvSpPr>
            <a:spLocks noGrp="1"/>
          </p:cNvSpPr>
          <p:nvPr>
            <p:ph type="body" sz="quarter" idx="10" hasCustomPrompt="1"/>
          </p:nvPr>
        </p:nvSpPr>
        <p:spPr>
          <a:xfrm>
            <a:off x="1014946" y="1988378"/>
            <a:ext cx="10174287" cy="3360920"/>
          </a:xfrm>
          <a:prstGeom prst="rect">
            <a:avLst/>
          </a:prstGeom>
        </p:spPr>
        <p:txBody>
          <a:bodyPr wrap="square" lIns="0" tIns="0" rIns="0" bIns="0">
            <a:spAutoFit/>
          </a:bodyPr>
          <a:lstStyle>
            <a:lvl1pPr marL="0" indent="0" algn="l">
              <a:buNone/>
              <a:defRPr sz="3200">
                <a:solidFill>
                  <a:srgbClr val="6A1980"/>
                </a:solidFill>
                <a:latin typeface="Segoe UI Light"/>
                <a:cs typeface="Segoe UI Light"/>
              </a:defRPr>
            </a:lvl1pPr>
            <a:lvl2pPr marL="0" marR="0" indent="0" algn="l" defTabSz="932563" rtl="0" eaLnBrk="1" fontAlgn="auto" latinLnBrk="0" hangingPunct="1">
              <a:lnSpc>
                <a:spcPct val="90000"/>
              </a:lnSpc>
              <a:spcBef>
                <a:spcPct val="20000"/>
              </a:spcBef>
              <a:spcAft>
                <a:spcPts val="0"/>
              </a:spcAft>
              <a:buClrTx/>
              <a:buSzPct val="90000"/>
              <a:buFont typeface="Arial"/>
              <a:buNone/>
              <a:tabLst/>
              <a:defRPr lang="en-US" sz="2400" kern="1200" dirty="0" smtClean="0">
                <a:solidFill>
                  <a:srgbClr val="4E4E4E"/>
                </a:solidFill>
                <a:latin typeface="Segoe UI Light"/>
                <a:ea typeface="+mn-ea"/>
                <a:cs typeface="Segoe UI Light"/>
              </a:defRPr>
            </a:lvl2pPr>
            <a:lvl3pPr marL="228556" marR="0" indent="0" algn="l" defTabSz="932563" rtl="0" eaLnBrk="1" fontAlgn="auto" latinLnBrk="0" hangingPunct="1">
              <a:lnSpc>
                <a:spcPct val="90000"/>
              </a:lnSpc>
              <a:spcBef>
                <a:spcPct val="20000"/>
              </a:spcBef>
              <a:spcAft>
                <a:spcPts val="0"/>
              </a:spcAft>
              <a:buClrTx/>
              <a:buSzPct val="90000"/>
              <a:buNone/>
              <a:tabLst/>
              <a:defRPr lang="en-US" sz="2000" kern="1200" dirty="0" smtClean="0">
                <a:solidFill>
                  <a:srgbClr val="4E4E4E"/>
                </a:solidFill>
                <a:latin typeface="+mn-lt"/>
                <a:ea typeface="+mn-ea"/>
                <a:cs typeface="+mn-cs"/>
              </a:defRPr>
            </a:lvl3pPr>
            <a:lvl4pPr marL="457112" marR="0" indent="0" algn="l" defTabSz="932563" rtl="0" eaLnBrk="1" fontAlgn="auto" latinLnBrk="0" hangingPunct="1">
              <a:lnSpc>
                <a:spcPct val="90000"/>
              </a:lnSpc>
              <a:spcBef>
                <a:spcPct val="20000"/>
              </a:spcBef>
              <a:spcAft>
                <a:spcPts val="0"/>
              </a:spcAft>
              <a:buClrTx/>
              <a:buSzPct val="90000"/>
              <a:buNone/>
              <a:tabLst/>
              <a:defRPr lang="en-US" sz="1800" kern="1200" dirty="0" smtClean="0">
                <a:solidFill>
                  <a:srgbClr val="4E4E4E"/>
                </a:solidFill>
                <a:latin typeface="+mn-lt"/>
                <a:ea typeface="+mn-ea"/>
                <a:cs typeface="+mn-cs"/>
              </a:defRPr>
            </a:lvl4pPr>
            <a:lvl5pPr marL="685668" marR="0" indent="0" algn="l" defTabSz="932563" rtl="0" eaLnBrk="1" fontAlgn="auto" latinLnBrk="0" hangingPunct="1">
              <a:lnSpc>
                <a:spcPct val="90000"/>
              </a:lnSpc>
              <a:spcBef>
                <a:spcPct val="20000"/>
              </a:spcBef>
              <a:spcAft>
                <a:spcPts val="0"/>
              </a:spcAft>
              <a:buClrTx/>
              <a:buSzPct val="90000"/>
              <a:buNone/>
              <a:tabLst/>
              <a:defRPr lang="en-US" sz="1800" kern="1200" dirty="0">
                <a:solidFill>
                  <a:srgbClr val="4E4E4E"/>
                </a:solidFill>
                <a:latin typeface="+mn-lt"/>
                <a:ea typeface="+mn-ea"/>
                <a:cs typeface="+mn-cs"/>
              </a:defRPr>
            </a:lvl5pPr>
          </a:lstStyle>
          <a:p>
            <a:r>
              <a:rPr lang="en-US" dirty="0" smtClean="0"/>
              <a:t>Stet </a:t>
            </a:r>
            <a:r>
              <a:rPr lang="en-US" dirty="0" err="1" smtClean="0"/>
              <a:t>clita</a:t>
            </a:r>
            <a:r>
              <a:rPr lang="en-US" dirty="0" smtClean="0"/>
              <a:t> </a:t>
            </a:r>
            <a:r>
              <a:rPr lang="en-US" dirty="0" err="1" smtClean="0"/>
              <a:t>kasd</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a:t>
            </a:r>
            <a:endParaRPr lang="de-DE" dirty="0" smtClean="0"/>
          </a:p>
          <a:p>
            <a:pPr marL="0" marR="0" lvl="1" indent="0" algn="l" defTabSz="932563" rtl="0" eaLnBrk="1" fontAlgn="auto" latinLnBrk="0" hangingPunct="1">
              <a:lnSpc>
                <a:spcPct val="90000"/>
              </a:lnSpc>
              <a:spcBef>
                <a:spcPct val="20000"/>
              </a:spcBef>
              <a:spcAft>
                <a:spcPts val="0"/>
              </a:spcAft>
              <a:buClrTx/>
              <a:buSzPct val="90000"/>
              <a:buFont typeface="Arial"/>
              <a:buNone/>
              <a:tabLst/>
              <a:defRPr/>
            </a:pPr>
            <a:r>
              <a:rPr lang="en-US" dirty="0" smtClean="0"/>
              <a:t>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1"/>
            <a:endParaRPr lang="en-US" dirty="0" smtClean="0"/>
          </a:p>
        </p:txBody>
      </p:sp>
      <p:sp>
        <p:nvSpPr>
          <p:cNvPr id="5" name="Title 1"/>
          <p:cNvSpPr>
            <a:spLocks noGrp="1"/>
          </p:cNvSpPr>
          <p:nvPr>
            <p:ph type="title"/>
          </p:nvPr>
        </p:nvSpPr>
        <p:spPr>
          <a:xfrm>
            <a:off x="1008064" y="908720"/>
            <a:ext cx="10174287" cy="677108"/>
          </a:xfrm>
          <a:prstGeom prst="rect">
            <a:avLst/>
          </a:prstGeom>
        </p:spPr>
        <p:txBody>
          <a:bodyPr wrap="square" lIns="0" tIns="0" rIns="0" bIns="0">
            <a:spAutoFit/>
          </a:bodyPr>
          <a:lstStyle>
            <a:lvl1pPr algn="l">
              <a:lnSpc>
                <a:spcPct val="90000"/>
              </a:lnSpc>
              <a:defRPr sz="4800">
                <a:solidFill>
                  <a:srgbClr val="4E4E4E"/>
                </a:solidFill>
                <a:latin typeface="Segoe UI Light"/>
                <a:cs typeface="Segoe UI Ligh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9236092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918498546"/>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6" y="2084173"/>
            <a:ext cx="8962692"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1" y="470413"/>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29"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2"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8" spc="0">
                  <a:solidFill>
                    <a:srgbClr val="FFFFFF"/>
                  </a:solidFill>
                </a:rPr>
                <a:t> DX</a:t>
              </a:r>
            </a:p>
          </p:txBody>
        </p:sp>
      </p:grpSp>
    </p:spTree>
    <p:extLst>
      <p:ext uri="{BB962C8B-B14F-4D97-AF65-F5344CB8AC3E}">
        <p14:creationId xmlns:p14="http://schemas.microsoft.com/office/powerpoint/2010/main" val="9293399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7" indent="0">
              <a:buNone/>
              <a:defRPr/>
            </a:lvl3pPr>
            <a:lvl4pPr marL="448153" indent="0">
              <a:buNone/>
              <a:defRPr/>
            </a:lvl4pPr>
            <a:lvl5pPr marL="67223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8"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8" spc="0">
                  <a:solidFill>
                    <a:srgbClr val="FFFFFF"/>
                  </a:solidFill>
                </a:rPr>
                <a:t> DPE</a:t>
              </a:r>
            </a:p>
          </p:txBody>
        </p:sp>
      </p:grpSp>
      <p:grpSp>
        <p:nvGrpSpPr>
          <p:cNvPr id="16" name="Group 15"/>
          <p:cNvGrpSpPr/>
          <p:nvPr/>
        </p:nvGrpSpPr>
        <p:grpSpPr>
          <a:xfrm>
            <a:off x="2"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5301795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9"/>
            <a:ext cx="9860673"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25473582"/>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9201708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53626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3" y="1451431"/>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1"/>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5" y="3211080"/>
            <a:ext cx="3598488" cy="1421157"/>
          </a:xfrm>
          <a:prstGeom prst="rect">
            <a:avLst/>
          </a:prstGeom>
          <a:noFill/>
        </p:spPr>
        <p:txBody>
          <a:bodyPr wrap="square" lIns="75681" tIns="37840" rIns="75681" bIns="211614" rtlCol="0" anchor="b" anchorCtr="0">
            <a:spAutoFit/>
          </a:bodyPr>
          <a:lstStyle/>
          <a:p>
            <a:pPr algn="ctr" defTabSz="946097"/>
            <a:r>
              <a:rPr lang="en-US" sz="7448"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9" y="3076352"/>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p:cNvSpPr/>
          <p:nvPr/>
        </p:nvSpPr>
        <p:spPr bwMode="auto">
          <a:xfrm>
            <a:off x="4296759" y="1451432"/>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5"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5" rIns="63468" bIns="31735" numCol="1" anchor="t" anchorCtr="0" compatLnSpc="1">
            <a:prstTxWarp prst="textNoShape">
              <a:avLst/>
            </a:prstTxWarp>
          </a:bodyPr>
          <a:lstStyle/>
          <a:p>
            <a:pPr algn="ctr" defTabSz="914225"/>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5"/>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3" rIns="63466" bIns="31733" numCol="1" rtlCol="0" anchor="ctr" anchorCtr="0" compatLnSpc="1">
            <a:prstTxWarp prst="textNoShape">
              <a:avLst/>
            </a:prstTxWarp>
          </a:bodyPr>
          <a:lstStyle/>
          <a:p>
            <a:pPr algn="ctr" defTabSz="57108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3" rIns="63466" bIns="31733"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20"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2"/>
            <a:ext cx="679506" cy="162535"/>
          </a:xfrm>
          <a:prstGeom prst="rect">
            <a:avLst/>
          </a:prstGeom>
        </p:spPr>
        <p:txBody>
          <a:bodyPr/>
          <a:lstStyle/>
          <a:p>
            <a:pPr defTabSz="914225"/>
            <a:fld id="{337CC868-EBA7-ED47-93D7-8656571B0709}"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7853321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2594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2594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D357A087-EBDD-47AF-89FC-5E39B48BAD7F}" type="datetimeFigureOut">
              <a:rPr lang="en-US" smtClean="0">
                <a:solidFill>
                  <a:srgbClr val="505050"/>
                </a:solidFill>
              </a:rPr>
              <a:pPr defTabSz="914225"/>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3232C0A4-028C-4D25-8B28-EA70D26D0177}"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11273461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descr="WEB13_Patrick_081.jp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8" y="1559"/>
                        <a:ext cx="1556" cy="1556"/>
                      </a:xfrm>
                      <a:prstGeom prst="rect">
                        <a:avLst/>
                      </a:prstGeom>
                    </p:spPr>
                  </p:pic>
                </p:oleObj>
              </mc:Fallback>
            </mc:AlternateContent>
          </a:graphicData>
        </a:graphic>
      </p:graphicFrame>
      <p:sp>
        <p:nvSpPr>
          <p:cNvPr id="9" name="Rectangle 8"/>
          <p:cNvSpPr/>
          <p:nvPr/>
        </p:nvSpPr>
        <p:spPr bwMode="auto">
          <a:xfrm>
            <a:off x="0" y="2584560"/>
            <a:ext cx="7956223" cy="3818020"/>
          </a:xfrm>
          <a:prstGeom prst="rect">
            <a:avLst/>
          </a:prstGeom>
          <a:solidFill>
            <a:schemeClr val="accent4">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8" tIns="143383" rIns="179228" bIns="143383"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57201" y="2735294"/>
            <a:ext cx="7272318" cy="1329595"/>
          </a:xfrm>
          <a:prstGeom prst="rect">
            <a:avLst/>
          </a:prstGeom>
        </p:spPr>
        <p:txBody>
          <a:bodyPr wrap="square" lIns="146304" tIns="0" rIns="146304"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0" y="5191581"/>
            <a:ext cx="7291634" cy="1034783"/>
          </a:xfrm>
          <a:prstGeom prst="rect">
            <a:avLst/>
          </a:prstGeom>
        </p:spPr>
        <p:txBody>
          <a:bodyPr lIns="146304" tIns="0" rIns="146304" bIns="0">
            <a:normAutofit/>
          </a:bodyPr>
          <a:lstStyle>
            <a:lvl1pPr marL="0" indent="0" algn="l">
              <a:lnSpc>
                <a:spcPct val="90000"/>
              </a:lnSpc>
              <a:spcBef>
                <a:spcPts val="0"/>
              </a:spcBef>
              <a:buNone/>
              <a:defRPr sz="2000">
                <a:solidFill>
                  <a:schemeClr val="bg1"/>
                </a:solidFill>
                <a:latin typeface="+mn-lt"/>
              </a:defRPr>
            </a:lvl1pPr>
            <a:lvl2pPr marL="448009" indent="0" algn="ctr">
              <a:buNone/>
              <a:defRPr>
                <a:solidFill>
                  <a:schemeClr val="tx1">
                    <a:tint val="75000"/>
                  </a:schemeClr>
                </a:solidFill>
              </a:defRPr>
            </a:lvl2pPr>
            <a:lvl3pPr marL="896020" indent="0" algn="ctr">
              <a:buNone/>
              <a:defRPr>
                <a:solidFill>
                  <a:schemeClr val="tx1">
                    <a:tint val="75000"/>
                  </a:schemeClr>
                </a:solidFill>
              </a:defRPr>
            </a:lvl3pPr>
            <a:lvl4pPr marL="1344030" indent="0" algn="ctr">
              <a:buNone/>
              <a:defRPr>
                <a:solidFill>
                  <a:schemeClr val="tx1">
                    <a:tint val="75000"/>
                  </a:schemeClr>
                </a:solidFill>
              </a:defRPr>
            </a:lvl4pPr>
            <a:lvl5pPr marL="1792040" indent="0" algn="ctr">
              <a:buNone/>
              <a:defRPr>
                <a:solidFill>
                  <a:schemeClr val="tx1">
                    <a:tint val="75000"/>
                  </a:schemeClr>
                </a:solidFill>
              </a:defRPr>
            </a:lvl5pPr>
            <a:lvl6pPr marL="2240049" indent="0" algn="ctr">
              <a:buNone/>
              <a:defRPr>
                <a:solidFill>
                  <a:schemeClr val="tx1">
                    <a:tint val="75000"/>
                  </a:schemeClr>
                </a:solidFill>
              </a:defRPr>
            </a:lvl6pPr>
            <a:lvl7pPr marL="2688059" indent="0" algn="ctr">
              <a:buNone/>
              <a:defRPr>
                <a:solidFill>
                  <a:schemeClr val="tx1">
                    <a:tint val="75000"/>
                  </a:schemeClr>
                </a:solidFill>
              </a:defRPr>
            </a:lvl7pPr>
            <a:lvl8pPr marL="3136069" indent="0" algn="ctr">
              <a:buNone/>
              <a:defRPr>
                <a:solidFill>
                  <a:schemeClr val="tx1">
                    <a:tint val="75000"/>
                  </a:schemeClr>
                </a:solidFill>
              </a:defRPr>
            </a:lvl8pPr>
            <a:lvl9pPr marL="358407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0" y="4138757"/>
            <a:ext cx="7291254" cy="863867"/>
          </a:xfrm>
          <a:prstGeom prst="rect">
            <a:avLst/>
          </a:prstGeom>
        </p:spPr>
        <p:txBody>
          <a:bodyPr lIns="146304" tIns="0" rIns="146304" bIns="0">
            <a:normAutofit/>
          </a:bodyPr>
          <a:lstStyle>
            <a:lvl1pPr marL="0" indent="0">
              <a:lnSpc>
                <a:spcPct val="90000"/>
              </a:lnSpc>
              <a:spcBef>
                <a:spcPts val="0"/>
              </a:spcBef>
              <a:buNone/>
              <a:defRPr sz="2000" baseline="0">
                <a:solidFill>
                  <a:schemeClr val="bg1"/>
                </a:solidFill>
                <a:latin typeface="+mn-lt"/>
              </a:defRPr>
            </a:lvl1pPr>
            <a:lvl2pPr marL="336008" indent="0">
              <a:buNone/>
              <a:defRPr sz="1600">
                <a:solidFill>
                  <a:schemeClr val="bg1"/>
                </a:solidFill>
                <a:latin typeface="+mj-lt"/>
              </a:defRPr>
            </a:lvl2pPr>
            <a:lvl3pPr marL="560013" indent="0">
              <a:buNone/>
              <a:defRPr sz="1300">
                <a:solidFill>
                  <a:schemeClr val="bg1"/>
                </a:solidFill>
                <a:latin typeface="+mj-lt"/>
              </a:defRPr>
            </a:lvl3pPr>
            <a:lvl4pPr marL="784016" indent="0">
              <a:buNone/>
              <a:defRPr sz="1200">
                <a:solidFill>
                  <a:schemeClr val="bg1"/>
                </a:solidFill>
                <a:latin typeface="+mj-lt"/>
              </a:defRPr>
            </a:lvl4pPr>
            <a:lvl5pPr marL="1008022"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3" y="6402580"/>
            <a:ext cx="1278487" cy="280187"/>
          </a:xfrm>
          <a:prstGeom prst="rect">
            <a:avLst/>
          </a:prstGeom>
        </p:spPr>
      </p:pic>
    </p:spTree>
    <p:extLst>
      <p:ext uri="{BB962C8B-B14F-4D97-AF65-F5344CB8AC3E}">
        <p14:creationId xmlns:p14="http://schemas.microsoft.com/office/powerpoint/2010/main" val="1705709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7" y="3"/>
            <a:ext cx="12190269" cy="6857999"/>
          </a:xfrm>
          <a:prstGeom prst="rect">
            <a:avLst/>
          </a:prstGeom>
        </p:spPr>
      </p:pic>
      <p:sp>
        <p:nvSpPr>
          <p:cNvPr id="18" name="Rectangle 17"/>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3"/>
            <a:ext cx="7172955" cy="1789991"/>
          </a:xfrm>
        </p:spPr>
        <p:txBody>
          <a:bodyPr tIns="107536" bIns="107536">
            <a:noAutofit/>
          </a:bodyPr>
          <a:lstStyle>
            <a:lvl1pPr marL="0" indent="0">
              <a:spcBef>
                <a:spcPts val="0"/>
              </a:spcBef>
              <a:buNone/>
              <a:defRPr sz="31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2322952084"/>
      </p:ext>
    </p:extLst>
  </p:cSld>
  <p:clrMapOvr>
    <a:masterClrMapping/>
  </p:clrMapOvr>
  <p:transition spd="slow">
    <p:push/>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BLUE - SECTION TI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2268110"/>
            <a:ext cx="11244943" cy="1198464"/>
          </a:xfrm>
        </p:spPr>
        <p:txBody>
          <a:bodyPr/>
          <a:lstStyle>
            <a:lvl1pPr>
              <a:defRPr sz="7198">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81001" y="3686175"/>
            <a:ext cx="11260138" cy="461665"/>
          </a:xfrm>
        </p:spPr>
        <p:txBody>
          <a:bodyPr>
            <a:spAutoFit/>
          </a:bodyPr>
          <a:lstStyle>
            <a:lvl1pPr>
              <a:spcBef>
                <a:spcPts val="0"/>
              </a:spcBef>
              <a:defRPr sz="2000" spc="0">
                <a:solidFill>
                  <a:schemeClr val="bg1"/>
                </a:solidFill>
                <a:latin typeface="+mn-lt"/>
              </a:defRPr>
            </a:lvl1pPr>
            <a:lvl2pPr>
              <a:defRPr sz="1400" spc="0">
                <a:solidFill>
                  <a:schemeClr val="bg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sp>
        <p:nvSpPr>
          <p:cNvPr id="10" name="Text Placeholder 5"/>
          <p:cNvSpPr>
            <a:spLocks noGrp="1"/>
          </p:cNvSpPr>
          <p:nvPr>
            <p:ph type="body" sz="quarter" idx="11" hasCustomPrompt="1"/>
          </p:nvPr>
        </p:nvSpPr>
        <p:spPr>
          <a:xfrm>
            <a:off x="381000" y="5898833"/>
            <a:ext cx="6057275" cy="341630"/>
          </a:xfrm>
        </p:spPr>
        <p:txBody>
          <a:bodyPr vert="horz" wrap="square" lIns="146304" tIns="45719" rIns="146304" bIns="45719" rtlCol="0">
            <a:spAutoFit/>
          </a:bodyPr>
          <a:lstStyle>
            <a:lvl1pPr>
              <a:defRPr lang="en-US" sz="1800" kern="1200" spc="0" baseline="0" dirty="0" smtClean="0">
                <a:solidFill>
                  <a:schemeClr val="bg1"/>
                </a:solidFill>
                <a:latin typeface="+mn-lt"/>
                <a:ea typeface="Segoe UI" pitchFamily="34" charset="0"/>
                <a:cs typeface="Segoe UI" pitchFamily="34" charset="0"/>
              </a:defRPr>
            </a:lvl1pPr>
          </a:lstStyle>
          <a:p>
            <a:pPr lvl="0"/>
            <a:r>
              <a:rPr lang="en-US" dirty="0" smtClean="0">
                <a:latin typeface="+mj-lt"/>
              </a:rPr>
              <a:t>Create the Internet of Your Things. </a:t>
            </a: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gray">
          <a:xfrm>
            <a:off x="458333" y="480503"/>
            <a:ext cx="1552931" cy="332660"/>
          </a:xfrm>
          <a:prstGeom prst="rect">
            <a:avLst/>
          </a:prstGeom>
        </p:spPr>
      </p:pic>
    </p:spTree>
    <p:extLst>
      <p:ext uri="{BB962C8B-B14F-4D97-AF65-F5344CB8AC3E}">
        <p14:creationId xmlns:p14="http://schemas.microsoft.com/office/powerpoint/2010/main" val="1067974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9" y="3"/>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3"/>
            <a:ext cx="6276530" cy="1789991"/>
          </a:xfrm>
          <a:noFill/>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1354120998"/>
      </p:ext>
    </p:extLst>
  </p:cSld>
  <p:clrMapOvr>
    <a:masterClrMapping/>
  </p:clrMapOvr>
  <p:transition spd="slow">
    <p:push/>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3"/>
            <a:ext cx="12194511" cy="6857999"/>
          </a:xfrm>
          <a:prstGeom prst="rect">
            <a:avLst/>
          </a:prstGeom>
        </p:spPr>
      </p:pic>
      <p:sp>
        <p:nvSpPr>
          <p:cNvPr id="17" name="Rectangle 16"/>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2468"/>
            <a:ext cx="7172955"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6" y="3880393"/>
            <a:ext cx="7172955"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4078361481"/>
      </p:ext>
    </p:extLst>
  </p:cSld>
  <p:clrMapOvr>
    <a:masterClrMapping/>
  </p:clrMapOvr>
  <p:transition spd="slow">
    <p:push/>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t="13312" r="17641" b="16929"/>
          <a:stretch/>
        </p:blipFill>
        <p:spPr>
          <a:xfrm>
            <a:off x="0" y="3"/>
            <a:ext cx="12192000" cy="6857999"/>
          </a:xfrm>
          <a:prstGeom prst="rect">
            <a:avLst/>
          </a:prstGeom>
        </p:spPr>
      </p:pic>
      <p:sp>
        <p:nvSpPr>
          <p:cNvPr id="17" name="Rectangle 16"/>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2468"/>
            <a:ext cx="7172955"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6" y="3869494"/>
            <a:ext cx="7172955" cy="1793104"/>
          </a:xfrm>
          <a:noFill/>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999374966"/>
      </p:ext>
    </p:extLst>
  </p:cSld>
  <p:clrMapOvr>
    <a:masterClrMapping/>
  </p:clrMapOvr>
  <p:transition spd="slow">
    <p:push/>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l="3333" t="3333" r="4875" b="4875"/>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4"/>
            <a:ext cx="6276530" cy="1793105"/>
          </a:xfrm>
          <a:noFill/>
        </p:spPr>
        <p:txBody>
          <a:bodyPr vert="horz" wrap="square" lIns="143381" tIns="89614" rIns="143381" bIns="89614" rtlCol="0" anchor="t" anchorCtr="0">
            <a:noAutofit/>
          </a:bodyPr>
          <a:lstStyle>
            <a:lvl1pPr>
              <a:defRPr lang="en-US" sz="5900"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188468324"/>
      </p:ext>
    </p:extLst>
  </p:cSld>
  <p:clrMapOvr>
    <a:masterClrMapping/>
  </p:clrMapOvr>
  <p:transition spd="slow">
    <p:push/>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 xmlns:a14="http://schemas.microsoft.com/office/drawing/2010/main">
                <a:solidFill>
                  <a:srgbClr val="FFFFFF"/>
                </a:solidFill>
              </a14:hiddenFill>
            </a:ext>
          </a:extLst>
        </p:spPr>
      </p:pic>
      <p:sp>
        <p:nvSpPr>
          <p:cNvPr id="19" name="Rectangle 18"/>
          <p:cNvSpPr/>
          <p:nvPr userDrawn="1"/>
        </p:nvSpPr>
        <p:spPr bwMode="gray">
          <a:xfrm>
            <a:off x="269305"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2" y="2084172"/>
            <a:ext cx="7171399" cy="2689656"/>
          </a:xfrm>
          <a:noFill/>
        </p:spPr>
        <p:txBody>
          <a:bodyPr lIns="143381" tIns="89614" rIns="143381" bIns="89614"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3" y="4772271"/>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71419974"/>
      </p:ext>
    </p:extLst>
  </p:cSld>
  <p:clrMapOvr>
    <a:masterClrMapping/>
  </p:clrMapOvr>
  <p:transition spd="slow">
    <p:push/>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133082"/>
      </p:ext>
    </p:extLst>
  </p:cSld>
  <p:clrMapOvr>
    <a:masterClrMapping/>
  </p:clrMapOvr>
  <p:transition spd="slow">
    <p:push/>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95829325"/>
      </p:ext>
    </p:extLst>
  </p:cSld>
  <p:clrMapOvr>
    <a:masterClrMapping/>
  </p:clrMapOvr>
  <p:transition spd="slow">
    <p:push/>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49964697"/>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30066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8937340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1501985"/>
      </p:ext>
    </p:extLst>
  </p:cSld>
  <p:clrMapOvr>
    <a:masterClrMapping/>
  </p:clrMapOvr>
  <p:transition spd="slow">
    <p:push/>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831730"/>
      </p:ext>
    </p:extLst>
  </p:cSld>
  <p:clrMapOvr>
    <a:masterClrMapping/>
  </p:clrMapOvr>
  <p:transition spd="slow">
    <p:push/>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6637392"/>
      </p:ext>
    </p:extLst>
  </p:cSld>
  <p:clrMapOvr>
    <a:masterClrMapping/>
  </p:clrMapOvr>
  <p:transition spd="slow">
    <p:push/>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415792"/>
      </p:ext>
    </p:extLst>
  </p:cSld>
  <p:clrMapOvr>
    <a:masterClrMapping/>
  </p:clrMapOvr>
  <p:transition spd="slow">
    <p:push/>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0316986"/>
      </p:ext>
    </p:extLst>
  </p:cSld>
  <p:clrMapOvr>
    <a:masterClrMapping/>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4089398"/>
      </p:ext>
    </p:extLst>
  </p:cSld>
  <p:clrMapOvr>
    <a:masterClrMapping/>
  </p:clrMapOvr>
  <p:transition spd="slow">
    <p:push/>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9319744"/>
      </p:ext>
    </p:extLst>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8353554"/>
      </p:ext>
    </p:extLst>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5019834"/>
      </p:ext>
    </p:extLst>
  </p:cSld>
  <p:clrMapOvr>
    <a:masterClrMapping/>
  </p:clrMapOvr>
  <p:transition spd="slow">
    <p:push/>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291786"/>
      </p:ext>
    </p:extLst>
  </p:cSld>
  <p:clrMapOvr>
    <a:masterClrMapping/>
  </p:clrMapOvr>
  <p:transition spd="slow">
    <p:push/>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47221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7837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56925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6125727"/>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483383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2839305"/>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736791" y="4869734"/>
            <a:ext cx="10477054" cy="461665"/>
          </a:xfrm>
        </p:spPr>
        <p:txBody>
          <a:bodyPr>
            <a:noAutofit/>
          </a:bodyPr>
          <a:lstStyle>
            <a:lvl1pPr marL="0" indent="0" algn="l">
              <a:lnSpc>
                <a:spcPct val="90000"/>
              </a:lnSpc>
              <a:spcBef>
                <a:spcPts val="0"/>
              </a:spcBef>
              <a:buNone/>
              <a:defRPr lang="en-US" sz="3627" kern="1200" spc="-70" baseline="0" dirty="0">
                <a:solidFill>
                  <a:srgbClr val="FFFFFF"/>
                </a:solidFill>
                <a:latin typeface="+mj-lt"/>
                <a:ea typeface="+mn-ea"/>
                <a:cs typeface="+mn-cs"/>
              </a:defRPr>
            </a:lvl1pPr>
            <a:lvl2pPr marL="457183" indent="0" algn="ctr">
              <a:buNone/>
              <a:defRPr>
                <a:solidFill>
                  <a:schemeClr val="tx1">
                    <a:tint val="75000"/>
                  </a:schemeClr>
                </a:solidFill>
              </a:defRPr>
            </a:lvl2pPr>
            <a:lvl3pPr marL="914367" indent="0" algn="ctr">
              <a:buNone/>
              <a:defRPr>
                <a:solidFill>
                  <a:schemeClr val="tx1">
                    <a:tint val="75000"/>
                  </a:schemeClr>
                </a:solidFill>
              </a:defRPr>
            </a:lvl3pPr>
            <a:lvl4pPr marL="1371550" indent="0" algn="ctr">
              <a:buNone/>
              <a:defRPr>
                <a:solidFill>
                  <a:schemeClr val="tx1">
                    <a:tint val="75000"/>
                  </a:schemeClr>
                </a:solidFill>
              </a:defRPr>
            </a:lvl4pPr>
            <a:lvl5pPr marL="1828734" indent="0" algn="ctr">
              <a:buNone/>
              <a:defRPr>
                <a:solidFill>
                  <a:schemeClr val="tx1">
                    <a:tint val="75000"/>
                  </a:schemeClr>
                </a:solidFill>
              </a:defRPr>
            </a:lvl5pPr>
            <a:lvl6pPr marL="2285918" indent="0" algn="ctr">
              <a:buNone/>
              <a:defRPr>
                <a:solidFill>
                  <a:schemeClr val="tx1">
                    <a:tint val="75000"/>
                  </a:schemeClr>
                </a:solidFill>
              </a:defRPr>
            </a:lvl6pPr>
            <a:lvl7pPr marL="2743101" indent="0" algn="ctr">
              <a:buNone/>
              <a:defRPr>
                <a:solidFill>
                  <a:schemeClr val="tx1">
                    <a:tint val="75000"/>
                  </a:schemeClr>
                </a:solidFill>
              </a:defRPr>
            </a:lvl7pPr>
            <a:lvl8pPr marL="3200284" indent="0" algn="ctr">
              <a:buNone/>
              <a:defRPr>
                <a:solidFill>
                  <a:schemeClr val="tx1">
                    <a:tint val="75000"/>
                  </a:schemeClr>
                </a:solidFill>
              </a:defRPr>
            </a:lvl8pPr>
            <a:lvl9pPr marL="3657469" indent="0" algn="ctr">
              <a:buNone/>
              <a:defRPr>
                <a:solidFill>
                  <a:schemeClr val="tx1">
                    <a:tint val="75000"/>
                  </a:schemeClr>
                </a:solidFill>
              </a:defRPr>
            </a:lvl9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449567" y="407184"/>
            <a:ext cx="10801652" cy="1202161"/>
          </a:xfrm>
        </p:spPr>
        <p:txBody>
          <a:bodyPr anchor="t"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7" b="0" kern="1200" cap="none" spc="-400" baseline="0" dirty="0" smtClean="0">
                <a:ln w="3175">
                  <a:noFill/>
                </a:ln>
                <a:gradFill>
                  <a:gsLst>
                    <a:gs pos="100000">
                      <a:srgbClr val="8CC600"/>
                    </a:gs>
                    <a:gs pos="0">
                      <a:srgbClr val="8CC600"/>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736012" y="3122377"/>
            <a:ext cx="10477936" cy="914096"/>
          </a:xfrm>
        </p:spPr>
        <p:txBody>
          <a:bodyPr wrap="square" anchor="t">
            <a:noAutofit/>
          </a:bodyPr>
          <a:lstStyle>
            <a:lvl1pPr marL="0" indent="0">
              <a:buNone/>
              <a:defRPr sz="6568" spc="-150"/>
            </a:lvl1pPr>
          </a:lstStyle>
          <a:p>
            <a:pPr lvl="0"/>
            <a:r>
              <a:rPr lang="en-US" smtClean="0"/>
              <a:t>Click to edit Master text styles</a:t>
            </a:r>
          </a:p>
        </p:txBody>
      </p:sp>
    </p:spTree>
    <p:extLst>
      <p:ext uri="{BB962C8B-B14F-4D97-AF65-F5344CB8AC3E}">
        <p14:creationId xmlns:p14="http://schemas.microsoft.com/office/powerpoint/2010/main" val="1688369921"/>
      </p:ext>
    </p:extLst>
  </p:cSld>
  <p:clrMapOvr>
    <a:masterClrMapping/>
  </p:clrMapOvr>
  <p:transition spd="slow">
    <p:push/>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Tree>
    <p:extLst>
      <p:ext uri="{BB962C8B-B14F-4D97-AF65-F5344CB8AC3E}">
        <p14:creationId xmlns:p14="http://schemas.microsoft.com/office/powerpoint/2010/main" val="383078580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8610600" y="6356350"/>
            <a:ext cx="2743200" cy="365125"/>
          </a:xfrm>
          <a:prstGeom prst="rect">
            <a:avLst/>
          </a:prstGeom>
        </p:spPr>
        <p:txBody>
          <a:bodyPr/>
          <a:lstStyle/>
          <a:p>
            <a:pPr defTabSz="914225"/>
            <a:fld id="{4CED8391-71CF-4FD3-A093-40D26DE2D47C}" type="slidenum">
              <a:rPr lang="en-US" smtClean="0">
                <a:solidFill>
                  <a:srgbClr val="00188F"/>
                </a:solidFill>
              </a:rPr>
              <a:pPr defTabSz="914225"/>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9"/>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748027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01">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1" y="573605"/>
            <a:ext cx="11510053" cy="373063"/>
          </a:xfrm>
          <a:prstGeom prst="rect">
            <a:avLst/>
          </a:prstGeom>
          <a:noFill/>
        </p:spPr>
        <p:txBody>
          <a:bodyPr lIns="380893" tIns="53325" rIns="53325" bIns="53325">
            <a:noAutofit/>
          </a:bodyPr>
          <a:lstStyle>
            <a:lvl1pPr marL="0" indent="0">
              <a:buNone/>
              <a:defRPr sz="20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8 Título"/>
          <p:cNvSpPr>
            <a:spLocks noGrp="1"/>
          </p:cNvSpPr>
          <p:nvPr>
            <p:ph type="title" hasCustomPrompt="1"/>
          </p:nvPr>
        </p:nvSpPr>
        <p:spPr>
          <a:xfrm>
            <a:off x="1" y="2"/>
            <a:ext cx="11510053" cy="646042"/>
          </a:xfrm>
        </p:spPr>
        <p:txBody>
          <a:bodyPr>
            <a:normAutofit/>
          </a:bodyPr>
          <a:lstStyle>
            <a:lvl1pPr>
              <a:defRPr sz="4000">
                <a:solidFill>
                  <a:schemeClr val="tx1"/>
                </a:solidFill>
                <a:latin typeface="Segoe UI Light" panose="020B0502040204020203" pitchFamily="34" charset="0"/>
                <a:cs typeface="Segoe UI Light" panose="020B0502040204020203" pitchFamily="34" charset="0"/>
              </a:defRPr>
            </a:lvl1pPr>
          </a:lstStyle>
          <a:p>
            <a:r>
              <a:rPr lang="es-ES" dirty="0" smtClean="0"/>
              <a:t>Click to add title</a:t>
            </a:r>
            <a:endParaRPr lang="es-AR" dirty="0"/>
          </a:p>
        </p:txBody>
      </p:sp>
    </p:spTree>
    <p:extLst>
      <p:ext uri="{BB962C8B-B14F-4D97-AF65-F5344CB8AC3E}">
        <p14:creationId xmlns:p14="http://schemas.microsoft.com/office/powerpoint/2010/main" val="138281797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8867189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273652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64045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sp useBgFill="1">
        <p:nvSpPr>
          <p:cNvPr id="10" name="Freeform 6"/>
          <p:cNvSpPr>
            <a:spLocks noChangeAspect="1" noEditPoints="1"/>
          </p:cNvSpPr>
          <p:nvPr userDrawn="1"/>
        </p:nvSpPr>
        <p:spPr bwMode="auto">
          <a:xfrm>
            <a:off x="-1" y="-1"/>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 name="Title 1"/>
          <p:cNvSpPr>
            <a:spLocks noGrp="1"/>
          </p:cNvSpPr>
          <p:nvPr>
            <p:ph type="title" hasCustomPrompt="1"/>
          </p:nvPr>
        </p:nvSpPr>
        <p:spPr>
          <a:xfrm>
            <a:off x="5647788" y="1187621"/>
            <a:ext cx="6274974" cy="2136525"/>
          </a:xfrm>
        </p:spPr>
        <p:txBody>
          <a:bodyPr vert="horz" wrap="square" lIns="146304" tIns="91440" rIns="146304" bIns="91440" rtlCol="0" anchor="t" anchorCtr="0">
            <a:spAutoFit/>
          </a:bodyPr>
          <a:lstStyle>
            <a:lvl1pPr>
              <a:defRPr lang="en-US" sz="7058" spc="-150"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824365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9834" tIns="279834" rIns="279834">
            <a:noAutofit/>
          </a:bodyPr>
          <a:lstStyle>
            <a:lvl1pPr marL="0" indent="0">
              <a:buNone/>
              <a:defRPr sz="2353"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0993"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5882"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403"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444835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0993" y="922639"/>
            <a:ext cx="5025066" cy="5015405"/>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5882" spc="-200" dirty="0">
                <a:gradFill>
                  <a:gsLst>
                    <a:gs pos="100000">
                      <a:schemeClr val="accent1"/>
                    </a:gs>
                    <a:gs pos="0">
                      <a:schemeClr val="accent1"/>
                    </a:gs>
                  </a:gsLst>
                  <a:lin ang="5400000" scaled="0"/>
                </a:gradFill>
              </a:defRPr>
            </a:lvl1pPr>
          </a:lstStyle>
          <a:p>
            <a:pPr marL="0" lvl="0" indent="0" defTabSz="914403"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647788" y="3871601"/>
            <a:ext cx="6274974" cy="724246"/>
          </a:xfrm>
        </p:spPr>
        <p:txBody>
          <a:bodyPr wrap="square">
            <a:spAutoFit/>
          </a:bodyPr>
          <a:lstStyle>
            <a:lvl1pPr marL="0" indent="0" algn="l">
              <a:lnSpc>
                <a:spcPct val="90000"/>
              </a:lnSpc>
              <a:spcBef>
                <a:spcPts val="0"/>
              </a:spcBef>
              <a:buNone/>
              <a:defRPr lang="en-US" sz="3137" kern="1200" spc="-70" baseline="0" dirty="0">
                <a:gradFill>
                  <a:gsLst>
                    <a:gs pos="94167">
                      <a:schemeClr val="tx1"/>
                    </a:gs>
                    <a:gs pos="72000">
                      <a:schemeClr val="tx1"/>
                    </a:gs>
                  </a:gsLst>
                  <a:lin ang="5400000" scaled="0"/>
                </a:gradFill>
                <a:latin typeface="+mj-lt"/>
                <a:ea typeface="+mn-ea"/>
                <a:cs typeface="+mn-cs"/>
              </a:defRPr>
            </a:lvl1pPr>
            <a:lvl2pPr marL="457183" indent="0" algn="ctr">
              <a:buNone/>
              <a:defRPr>
                <a:solidFill>
                  <a:schemeClr val="tx1">
                    <a:tint val="75000"/>
                  </a:schemeClr>
                </a:solidFill>
              </a:defRPr>
            </a:lvl2pPr>
            <a:lvl3pPr marL="914367" indent="0" algn="ctr">
              <a:buNone/>
              <a:defRPr>
                <a:solidFill>
                  <a:schemeClr val="tx1">
                    <a:tint val="75000"/>
                  </a:schemeClr>
                </a:solidFill>
              </a:defRPr>
            </a:lvl3pPr>
            <a:lvl4pPr marL="1371550" indent="0" algn="ctr">
              <a:buNone/>
              <a:defRPr>
                <a:solidFill>
                  <a:schemeClr val="tx1">
                    <a:tint val="75000"/>
                  </a:schemeClr>
                </a:solidFill>
              </a:defRPr>
            </a:lvl4pPr>
            <a:lvl5pPr marL="1828734" indent="0" algn="ctr">
              <a:buNone/>
              <a:defRPr>
                <a:solidFill>
                  <a:schemeClr val="tx1">
                    <a:tint val="75000"/>
                  </a:schemeClr>
                </a:solidFill>
              </a:defRPr>
            </a:lvl5pPr>
            <a:lvl6pPr marL="2285918" indent="0" algn="ctr">
              <a:buNone/>
              <a:defRPr>
                <a:solidFill>
                  <a:schemeClr val="tx1">
                    <a:tint val="75000"/>
                  </a:schemeClr>
                </a:solidFill>
              </a:defRPr>
            </a:lvl6pPr>
            <a:lvl7pPr marL="2743101" indent="0" algn="ctr">
              <a:buNone/>
              <a:defRPr>
                <a:solidFill>
                  <a:schemeClr val="tx1">
                    <a:tint val="75000"/>
                  </a:schemeClr>
                </a:solidFill>
              </a:defRPr>
            </a:lvl7pPr>
            <a:lvl8pPr marL="3200284" indent="0" algn="ctr">
              <a:buNone/>
              <a:defRPr>
                <a:solidFill>
                  <a:schemeClr val="tx1">
                    <a:tint val="75000"/>
                  </a:schemeClr>
                </a:solidFill>
              </a:defRPr>
            </a:lvl8pPr>
            <a:lvl9pPr marL="3657469" indent="0" algn="ctr">
              <a:buNone/>
              <a:defRPr>
                <a:solidFill>
                  <a:schemeClr val="tx1">
                    <a:tint val="75000"/>
                  </a:schemeClr>
                </a:solidFill>
              </a:defRPr>
            </a:lvl9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647788" y="2084172"/>
            <a:ext cx="6274974" cy="1756297"/>
          </a:xfrm>
        </p:spPr>
        <p:txBody>
          <a:bodyPr wrap="square" anchor="b">
            <a:spAutoFit/>
          </a:bodyPr>
          <a:lstStyle>
            <a:lvl1pPr marL="0" indent="0">
              <a:buNone/>
              <a:defRPr sz="5294" spc="-150">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787027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608260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8006801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5478705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6996047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3913620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6688065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637272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6270780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755814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8084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401457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223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1308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5251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14068"/>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rgbClr val="0071BC"/>
                </a:solidFill>
              </a:defRPr>
            </a:lvl1pPr>
          </a:lstStyle>
          <a:p>
            <a:r>
              <a:rPr lang="en-US" dirty="0" smtClean="0"/>
              <a:t>Click to edit Master title style</a:t>
            </a:r>
            <a:endParaRPr lang="en-US" dirty="0"/>
          </a:p>
        </p:txBody>
      </p:sp>
      <p:sp>
        <p:nvSpPr>
          <p:cNvPr id="2" name="Footer Placeholder 1"/>
          <p:cNvSpPr>
            <a:spLocks noGrp="1"/>
          </p:cNvSpPr>
          <p:nvPr>
            <p:ph type="ftr" sz="quarter" idx="11"/>
          </p:nvPr>
        </p:nvSpPr>
        <p:spPr/>
        <p:txBody>
          <a:bodyPr/>
          <a:lstStyle/>
          <a:p>
            <a:r>
              <a:rPr lang="en-US" dirty="0" smtClean="0">
                <a:solidFill>
                  <a:prstClr val="black">
                    <a:tint val="75000"/>
                  </a:prstClr>
                </a:solidFill>
              </a:rPr>
              <a:t>Microsoft Confidential</a:t>
            </a:r>
            <a:endParaRPr lang="en-US" dirty="0">
              <a:solidFill>
                <a:prstClr val="black">
                  <a:tint val="75000"/>
                </a:prstClr>
              </a:solidFill>
            </a:endParaRPr>
          </a:p>
        </p:txBody>
      </p:sp>
      <p:sp>
        <p:nvSpPr>
          <p:cNvPr id="3" name="Slide Number Placeholder 2"/>
          <p:cNvSpPr>
            <a:spLocks noGrp="1"/>
          </p:cNvSpPr>
          <p:nvPr>
            <p:ph type="sldNum" sz="quarter" idx="12"/>
          </p:nvPr>
        </p:nvSpPr>
        <p:spPr>
          <a:xfrm>
            <a:off x="11474489" y="6656567"/>
            <a:ext cx="679507" cy="162535"/>
          </a:xfrm>
          <a:prstGeom prst="rect">
            <a:avLst/>
          </a:prstGeom>
        </p:spPr>
        <p:txBody>
          <a:bodyPr/>
          <a:lstStyle/>
          <a:p>
            <a:fld id="{337CC868-EBA7-ED47-93D7-8656571B0709}"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00199641"/>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14068"/>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rgbClr val="0071BC"/>
                </a:solidFill>
              </a:defRPr>
            </a:lvl1pPr>
          </a:lstStyle>
          <a:p>
            <a:r>
              <a:rPr lang="en-US" dirty="0" smtClean="0"/>
              <a:t>Click to edit Master title style</a:t>
            </a:r>
            <a:endParaRPr lang="en-US" dirty="0"/>
          </a:p>
        </p:txBody>
      </p:sp>
      <p:sp>
        <p:nvSpPr>
          <p:cNvPr id="2" name="Footer Placeholder 1"/>
          <p:cNvSpPr>
            <a:spLocks noGrp="1"/>
          </p:cNvSpPr>
          <p:nvPr>
            <p:ph type="ftr" sz="quarter" idx="11"/>
          </p:nvPr>
        </p:nvSpPr>
        <p:spPr/>
        <p:txBody>
          <a:bodyPr/>
          <a:lstStyle/>
          <a:p>
            <a:r>
              <a:rPr lang="en-US" dirty="0" smtClean="0">
                <a:solidFill>
                  <a:prstClr val="black">
                    <a:tint val="75000"/>
                  </a:prstClr>
                </a:solidFill>
              </a:rPr>
              <a:t>Microsoft Confidential</a:t>
            </a:r>
            <a:endParaRPr lang="en-US" dirty="0">
              <a:solidFill>
                <a:prstClr val="black">
                  <a:tint val="75000"/>
                </a:prstClr>
              </a:solidFill>
            </a:endParaRPr>
          </a:p>
        </p:txBody>
      </p:sp>
      <p:sp>
        <p:nvSpPr>
          <p:cNvPr id="3" name="Slide Number Placeholder 2"/>
          <p:cNvSpPr>
            <a:spLocks noGrp="1"/>
          </p:cNvSpPr>
          <p:nvPr>
            <p:ph type="sldNum" sz="quarter" idx="12"/>
          </p:nvPr>
        </p:nvSpPr>
        <p:spPr>
          <a:xfrm>
            <a:off x="11474489" y="6656567"/>
            <a:ext cx="679507" cy="162535"/>
          </a:xfrm>
          <a:prstGeom prst="rect">
            <a:avLst/>
          </a:prstGeom>
        </p:spPr>
        <p:txBody>
          <a:bodyPr/>
          <a:lstStyle/>
          <a:p>
            <a:fld id="{337CC868-EBA7-ED47-93D7-8656571B0709}"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0019964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 xmlns:a14="http://schemas.microsoft.com/office/drawing/2010/main">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05904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353245" cy="1344828"/>
          </a:xfrm>
          <a:prstGeom prst="rect">
            <a:avLst/>
          </a:prstGeom>
        </p:spPr>
      </p:pic>
    </p:spTree>
    <p:extLst>
      <p:ext uri="{BB962C8B-B14F-4D97-AF65-F5344CB8AC3E}">
        <p14:creationId xmlns:p14="http://schemas.microsoft.com/office/powerpoint/2010/main" val="10466474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12172623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334264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4607616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8600" y="298255"/>
            <a:ext cx="5289112"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1873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23" y="2907733"/>
            <a:ext cx="12191377" cy="3582366"/>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985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8780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5.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10" Type="http://schemas.openxmlformats.org/officeDocument/2006/relationships/theme" Target="../theme/theme6.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theme" Target="../theme/theme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image" Target="../media/image16.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8.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809460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829" r:id="rId33"/>
    <p:sldLayoutId id="2147483830" r:id="rId34"/>
    <p:sldLayoutId id="2147483831" r:id="rId35"/>
  </p:sldLayoutIdLst>
  <p:transition spd="slow">
    <p:push/>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421157" y="6444715"/>
            <a:ext cx="501606" cy="122217"/>
          </a:xfrm>
          <a:prstGeom prst="rect">
            <a:avLst/>
          </a:prstGeom>
          <a:noFill/>
        </p:spPr>
        <p:txBody>
          <a:bodyPr wrap="square" lIns="0" tIns="0" rIns="182880" bIns="0" rtlCol="0" anchor="b" anchorCtr="0">
            <a:spAutoFit/>
          </a:bodyPr>
          <a:lstStyle>
            <a:lvl1pPr algn="r">
              <a:defRPr lang="en-US" sz="882" spc="-20" baseline="0" smtClean="0">
                <a:gradFill>
                  <a:gsLst>
                    <a:gs pos="0">
                      <a:schemeClr val="tx1"/>
                    </a:gs>
                    <a:gs pos="100000">
                      <a:schemeClr val="tx1"/>
                    </a:gs>
                  </a:gsLst>
                  <a:lin ang="5400000" scaled="0"/>
                </a:gradFill>
              </a:defRPr>
            </a:lvl1pPr>
          </a:lstStyle>
          <a:p>
            <a:pPr defTabSz="914133">
              <a:lnSpc>
                <a:spcPct val="90000"/>
              </a:lnSpc>
            </a:pPr>
            <a:fld id="{1BC86A1F-E589-44B2-A543-2EC98F5547A7}" type="slidenum">
              <a:rPr lang="en-US" smtClean="0">
                <a:gradFill>
                  <a:gsLst>
                    <a:gs pos="0">
                      <a:srgbClr val="505050"/>
                    </a:gs>
                    <a:gs pos="100000">
                      <a:srgbClr val="505050"/>
                    </a:gs>
                  </a:gsLst>
                  <a:lin ang="5400000" scaled="0"/>
                </a:gradFill>
              </a:rPr>
              <a:pPr defTabSz="91413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886139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9" r:id="rId9"/>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30"/>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031919302"/>
      </p:ext>
    </p:extLst>
  </p:cSld>
  <p:clrMap bg1="dk1" tx1="lt1" bg2="dk2" tx2="lt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2"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pPr defTabSz="914225"/>
            <a:r>
              <a:rPr lang="en-US"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1778033383"/>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5" r:id="rId9"/>
    <p:sldLayoutId id="2147483826" r:id="rId10"/>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emf"/><Relationship Id="rId2" Type="http://schemas.openxmlformats.org/officeDocument/2006/relationships/notesSlide" Target="../notesSlides/notesSlide13.xml"/><Relationship Id="rId16" Type="http://schemas.openxmlformats.org/officeDocument/2006/relationships/image" Target="../media/image52.emf"/><Relationship Id="rId20" Type="http://schemas.openxmlformats.org/officeDocument/2006/relationships/image" Target="../media/image56.png"/><Relationship Id="rId1" Type="http://schemas.openxmlformats.org/officeDocument/2006/relationships/slideLayout" Target="../slideLayouts/slideLayout32.xml"/><Relationship Id="rId6" Type="http://schemas.openxmlformats.org/officeDocument/2006/relationships/image" Target="../media/image42.png"/><Relationship Id="rId11" Type="http://schemas.openxmlformats.org/officeDocument/2006/relationships/image" Target="../media/image47.emf"/><Relationship Id="rId5" Type="http://schemas.openxmlformats.org/officeDocument/2006/relationships/image" Target="../media/image41.png"/><Relationship Id="rId15" Type="http://schemas.openxmlformats.org/officeDocument/2006/relationships/image" Target="../media/image51.jpeg"/><Relationship Id="rId10" Type="http://schemas.openxmlformats.org/officeDocument/2006/relationships/image" Target="../media/image46.emf"/><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www.arcweb.com/Blog/Post/260/Proactive-Asset-Management-with-IIoT-and-Analytics" TargetMode="External"/><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2" Type="http://schemas.openxmlformats.org/officeDocument/2006/relationships/image" Target="../media/image90.gif"/><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oT - It's Not Just a Buzzword</a:t>
            </a:r>
          </a:p>
        </p:txBody>
      </p:sp>
    </p:spTree>
    <p:extLst>
      <p:ext uri="{BB962C8B-B14F-4D97-AF65-F5344CB8AC3E}">
        <p14:creationId xmlns:p14="http://schemas.microsoft.com/office/powerpoint/2010/main" val="2229260604"/>
      </p:ext>
    </p:extLst>
  </p:cSld>
  <p:clrMapOvr>
    <a:masterClrMapping/>
  </p:clrMapOvr>
  <p:transition spd="slow">
    <p:push/>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349827" y="465344"/>
            <a:ext cx="9622971" cy="6269940"/>
          </a:xfrm>
          <a:prstGeom prst="rect">
            <a:avLst/>
          </a:prstGeom>
        </p:spPr>
      </p:pic>
      <p:sp>
        <p:nvSpPr>
          <p:cNvPr id="2" name="Right Arrow 1"/>
          <p:cNvSpPr/>
          <p:nvPr/>
        </p:nvSpPr>
        <p:spPr bwMode="auto">
          <a:xfrm rot="1519759" flipH="1">
            <a:off x="3386294" y="1550566"/>
            <a:ext cx="2260879" cy="12761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555197">
            <a:off x="3488021" y="1874704"/>
            <a:ext cx="205742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solidFill>
              </a:rPr>
              <a:t>You are here</a:t>
            </a:r>
          </a:p>
        </p:txBody>
      </p:sp>
    </p:spTree>
    <p:extLst>
      <p:ext uri="{BB962C8B-B14F-4D97-AF65-F5344CB8AC3E}">
        <p14:creationId xmlns:p14="http://schemas.microsoft.com/office/powerpoint/2010/main" val="2999159498"/>
      </p:ext>
    </p:extLst>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Jason\AppData\Local\Temp\SNAGHTML40d39e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975" y="527276"/>
            <a:ext cx="11380170" cy="44656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453511" y="5929477"/>
            <a:ext cx="4382931" cy="646331"/>
          </a:xfrm>
          <a:prstGeom prst="rect">
            <a:avLst/>
          </a:prstGeom>
        </p:spPr>
        <p:txBody>
          <a:bodyPr wrap="none">
            <a:spAutoFit/>
          </a:bodyPr>
          <a:lstStyle/>
          <a:p>
            <a:r>
              <a:rPr lang="en-US" dirty="0" smtClean="0">
                <a:solidFill>
                  <a:srgbClr val="181818"/>
                </a:solidFill>
                <a:latin typeface="Georgia" panose="02040502050405020303" pitchFamily="18" charset="0"/>
              </a:rPr>
              <a:t>“People </a:t>
            </a:r>
            <a:r>
              <a:rPr lang="en-US" dirty="0">
                <a:solidFill>
                  <a:srgbClr val="181818"/>
                </a:solidFill>
                <a:latin typeface="Georgia" panose="02040502050405020303" pitchFamily="18" charset="0"/>
              </a:rPr>
              <a:t>fear what they don't </a:t>
            </a:r>
            <a:r>
              <a:rPr lang="en-US" dirty="0" smtClean="0">
                <a:solidFill>
                  <a:srgbClr val="181818"/>
                </a:solidFill>
                <a:latin typeface="Georgia" panose="02040502050405020303" pitchFamily="18" charset="0"/>
              </a:rPr>
              <a:t>understand”</a:t>
            </a:r>
          </a:p>
          <a:p>
            <a:r>
              <a:rPr lang="en-US" b="0" i="0" dirty="0" smtClean="0">
                <a:solidFill>
                  <a:srgbClr val="181818"/>
                </a:solidFill>
                <a:effectLst/>
                <a:latin typeface="Georgia" panose="02040502050405020303" pitchFamily="18" charset="0"/>
              </a:rPr>
              <a:t>-Andrew Smith</a:t>
            </a:r>
            <a:endParaRPr lang="en-US" b="0" i="0" dirty="0">
              <a:solidFill>
                <a:srgbClr val="181818"/>
              </a:solidFill>
              <a:effectLst/>
              <a:latin typeface="Georgia" panose="02040502050405020303" pitchFamily="18" charset="0"/>
            </a:endParaRPr>
          </a:p>
        </p:txBody>
      </p:sp>
    </p:spTree>
    <p:extLst>
      <p:ext uri="{BB962C8B-B14F-4D97-AF65-F5344CB8AC3E}">
        <p14:creationId xmlns:p14="http://schemas.microsoft.com/office/powerpoint/2010/main" val="1012443503"/>
      </p:ext>
    </p:extLst>
  </p:cSld>
  <p:clrMapOvr>
    <a:masterClrMapping/>
  </p:clrMapOvr>
  <p:transition spd="slow">
    <p:push/>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327905" y="0"/>
            <a:ext cx="9619406" cy="6858000"/>
          </a:xfrm>
          <a:prstGeom prst="rect">
            <a:avLst/>
          </a:prstGeom>
        </p:spPr>
      </p:pic>
    </p:spTree>
    <p:extLst>
      <p:ext uri="{BB962C8B-B14F-4D97-AF65-F5344CB8AC3E}">
        <p14:creationId xmlns:p14="http://schemas.microsoft.com/office/powerpoint/2010/main" val="2527044652"/>
      </p:ext>
    </p:extLst>
  </p:cSld>
  <p:clrMapOvr>
    <a:masterClrMapping/>
  </p:clrMapOvr>
  <p:transition spd="slow">
    <p:push/>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5819" y="859150"/>
          <a:ext cx="1167" cy="1167"/>
        </p:xfrm>
        <a:graphic>
          <a:graphicData uri="http://schemas.openxmlformats.org/presentationml/2006/ole">
            <mc:AlternateContent xmlns:mc="http://schemas.openxmlformats.org/markup-compatibility/2006">
              <mc:Choice xmlns:v="urn:schemas-microsoft-com:vml" Requires="v">
                <p:oleObj spid="_x0000_s20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19" y="859150"/>
                        <a:ext cx="1167" cy="1167"/>
                      </a:xfrm>
                      <a:prstGeom prst="rect">
                        <a:avLst/>
                      </a:prstGeom>
                    </p:spPr>
                  </p:pic>
                </p:oleObj>
              </mc:Fallback>
            </mc:AlternateContent>
          </a:graphicData>
        </a:graphic>
      </p:graphicFrame>
      <p:sp>
        <p:nvSpPr>
          <p:cNvPr id="4" name="Title 3"/>
          <p:cNvSpPr>
            <a:spLocks noGrp="1"/>
          </p:cNvSpPr>
          <p:nvPr>
            <p:ph type="title"/>
          </p:nvPr>
        </p:nvSpPr>
        <p:spPr/>
        <p:txBody>
          <a:bodyPr>
            <a:noAutofit/>
          </a:bodyPr>
          <a:lstStyle/>
          <a:p>
            <a:r>
              <a:rPr lang="en-US" sz="4400" dirty="0" smtClean="0">
                <a:solidFill>
                  <a:schemeClr val="bg2">
                    <a:lumMod val="50000"/>
                  </a:schemeClr>
                </a:solidFill>
                <a:latin typeface="Segoe UI Light" panose="020B0502040204020203" pitchFamily="34" charset="0"/>
                <a:cs typeface="Segoe UI Light" panose="020B0502040204020203" pitchFamily="34" charset="0"/>
              </a:rPr>
              <a:t>What is the Internet of Things?</a:t>
            </a:r>
            <a:endParaRPr lang="en-US" sz="4400"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60" name="Rectangle 59"/>
          <p:cNvSpPr/>
          <p:nvPr/>
        </p:nvSpPr>
        <p:spPr>
          <a:xfrm>
            <a:off x="2962297" y="2084364"/>
            <a:ext cx="2644453" cy="2689274"/>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Connectivity</a:t>
            </a:r>
          </a:p>
        </p:txBody>
      </p:sp>
      <p:grpSp>
        <p:nvGrpSpPr>
          <p:cNvPr id="87" name="Group 86"/>
          <p:cNvGrpSpPr/>
          <p:nvPr/>
        </p:nvGrpSpPr>
        <p:grpSpPr>
          <a:xfrm>
            <a:off x="4795842" y="3962744"/>
            <a:ext cx="609018" cy="606953"/>
            <a:chOff x="13581063" y="-434975"/>
            <a:chExt cx="3236912" cy="3236913"/>
          </a:xfrm>
          <a:solidFill>
            <a:schemeClr val="bg2"/>
          </a:solidFill>
        </p:grpSpPr>
        <p:sp>
          <p:nvSpPr>
            <p:cNvPr id="8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92" name="Rectangle 91"/>
          <p:cNvSpPr/>
          <p:nvPr/>
        </p:nvSpPr>
        <p:spPr>
          <a:xfrm>
            <a:off x="5646691" y="2084364"/>
            <a:ext cx="2644453" cy="2689274"/>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Data</a:t>
            </a:r>
          </a:p>
        </p:txBody>
      </p:sp>
      <p:grpSp>
        <p:nvGrpSpPr>
          <p:cNvPr id="93" name="Group 92"/>
          <p:cNvGrpSpPr/>
          <p:nvPr/>
        </p:nvGrpSpPr>
        <p:grpSpPr>
          <a:xfrm>
            <a:off x="7370541" y="3892100"/>
            <a:ext cx="725691" cy="677599"/>
            <a:chOff x="-5364163" y="-2738437"/>
            <a:chExt cx="4327525" cy="4054475"/>
          </a:xfrm>
          <a:solidFill>
            <a:schemeClr val="bg2"/>
          </a:solidFill>
        </p:grpSpPr>
        <p:sp>
          <p:nvSpPr>
            <p:cNvPr id="9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09" name="Rectangle 108"/>
          <p:cNvSpPr/>
          <p:nvPr/>
        </p:nvSpPr>
        <p:spPr>
          <a:xfrm>
            <a:off x="8337063" y="2084364"/>
            <a:ext cx="2644453" cy="268927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Analytics</a:t>
            </a:r>
          </a:p>
        </p:txBody>
      </p:sp>
      <p:grpSp>
        <p:nvGrpSpPr>
          <p:cNvPr id="110" name="Group 109"/>
          <p:cNvGrpSpPr/>
          <p:nvPr/>
        </p:nvGrpSpPr>
        <p:grpSpPr>
          <a:xfrm>
            <a:off x="9699391" y="3817977"/>
            <a:ext cx="998659" cy="749069"/>
            <a:chOff x="15319375" y="-157163"/>
            <a:chExt cx="2720976" cy="2047876"/>
          </a:xfrm>
          <a:solidFill>
            <a:schemeClr val="bg1"/>
          </a:solidFill>
        </p:grpSpPr>
        <p:sp>
          <p:nvSpPr>
            <p:cNvPr id="111"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2"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3"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4"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5"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6"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7"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8"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9"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0"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21" name="Rectangle 120"/>
          <p:cNvSpPr/>
          <p:nvPr/>
        </p:nvSpPr>
        <p:spPr>
          <a:xfrm>
            <a:off x="275630" y="2084364"/>
            <a:ext cx="2644453" cy="2689274"/>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Things</a:t>
            </a:r>
          </a:p>
        </p:txBody>
      </p:sp>
      <p:grpSp>
        <p:nvGrpSpPr>
          <p:cNvPr id="122" name="Group 121"/>
          <p:cNvGrpSpPr/>
          <p:nvPr/>
        </p:nvGrpSpPr>
        <p:grpSpPr>
          <a:xfrm>
            <a:off x="1516176" y="3614944"/>
            <a:ext cx="1180812" cy="952102"/>
            <a:chOff x="1640724" y="3762844"/>
            <a:chExt cx="1110344" cy="895283"/>
          </a:xfrm>
        </p:grpSpPr>
        <p:grpSp>
          <p:nvGrpSpPr>
            <p:cNvPr id="123" name="Group 122"/>
            <p:cNvGrpSpPr/>
            <p:nvPr/>
          </p:nvGrpSpPr>
          <p:grpSpPr>
            <a:xfrm flipH="1">
              <a:off x="2101550" y="3865418"/>
              <a:ext cx="649518" cy="279906"/>
              <a:chOff x="18524538" y="-23752175"/>
              <a:chExt cx="41830625" cy="18087975"/>
            </a:xfrm>
            <a:solidFill>
              <a:schemeClr val="bg1"/>
            </a:solidFill>
          </p:grpSpPr>
          <p:sp>
            <p:nvSpPr>
              <p:cNvPr id="141"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grpSp>
          <p:nvGrpSpPr>
            <p:cNvPr id="124" name="Group 123"/>
            <p:cNvGrpSpPr/>
            <p:nvPr/>
          </p:nvGrpSpPr>
          <p:grpSpPr>
            <a:xfrm flipH="1">
              <a:off x="2200373" y="4223497"/>
              <a:ext cx="522120" cy="432207"/>
              <a:chOff x="16659225" y="-4403725"/>
              <a:chExt cx="3724275" cy="3082925"/>
            </a:xfrm>
            <a:solidFill>
              <a:schemeClr val="bg1"/>
            </a:solidFill>
          </p:grpSpPr>
          <p:sp>
            <p:nvSpPr>
              <p:cNvPr id="139"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40"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5" name="Group 124"/>
            <p:cNvGrpSpPr/>
            <p:nvPr/>
          </p:nvGrpSpPr>
          <p:grpSpPr>
            <a:xfrm>
              <a:off x="1737360" y="3762844"/>
              <a:ext cx="255760" cy="423605"/>
              <a:chOff x="2981515" y="4282797"/>
              <a:chExt cx="371475" cy="615261"/>
            </a:xfrm>
          </p:grpSpPr>
          <p:sp>
            <p:nvSpPr>
              <p:cNvPr id="136"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7"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8"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6" name="Group 125"/>
            <p:cNvGrpSpPr/>
            <p:nvPr/>
          </p:nvGrpSpPr>
          <p:grpSpPr>
            <a:xfrm>
              <a:off x="1640724" y="4275400"/>
              <a:ext cx="481642" cy="382727"/>
              <a:chOff x="-3435350" y="5073650"/>
              <a:chExt cx="3192462" cy="2536826"/>
            </a:xfrm>
            <a:solidFill>
              <a:schemeClr val="bg1"/>
            </a:solidFill>
          </p:grpSpPr>
          <p:sp>
            <p:nvSpPr>
              <p:cNvPr id="127"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8"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9"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0"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1"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3"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4"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5"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spTree>
    <p:extLst>
      <p:ext uri="{BB962C8B-B14F-4D97-AF65-F5344CB8AC3E}">
        <p14:creationId xmlns:p14="http://schemas.microsoft.com/office/powerpoint/2010/main" val="1919525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anim calcmode="lin" valueType="num">
                                      <p:cBhvr additive="base">
                                        <p:cTn id="7" dur="500" fill="hold"/>
                                        <p:tgtEl>
                                          <p:spTgt spid="121"/>
                                        </p:tgtEl>
                                        <p:attrNameLst>
                                          <p:attrName>ppt_x</p:attrName>
                                        </p:attrNameLst>
                                      </p:cBhvr>
                                      <p:tavLst>
                                        <p:tav tm="0">
                                          <p:val>
                                            <p:strVal val="1+#ppt_w/2"/>
                                          </p:val>
                                        </p:tav>
                                        <p:tav tm="100000">
                                          <p:val>
                                            <p:strVal val="#ppt_x"/>
                                          </p:val>
                                        </p:tav>
                                      </p:tavLst>
                                    </p:anim>
                                    <p:anim calcmode="lin" valueType="num">
                                      <p:cBhvr additive="base">
                                        <p:cTn id="8" dur="500" fill="hold"/>
                                        <p:tgtEl>
                                          <p:spTgt spid="121"/>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122"/>
                                        </p:tgtEl>
                                        <p:attrNameLst>
                                          <p:attrName>style.visibility</p:attrName>
                                        </p:attrNameLst>
                                      </p:cBhvr>
                                      <p:to>
                                        <p:strVal val="visible"/>
                                      </p:to>
                                    </p:set>
                                    <p:animEffect transition="in" filter="strips(downLeft)">
                                      <p:cBhvr>
                                        <p:cTn id="11" dur="500"/>
                                        <p:tgtEl>
                                          <p:spTgt spid="122"/>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0"/>
                                        </p:tgtEl>
                                        <p:attrNameLst>
                                          <p:attrName>style.visibility</p:attrName>
                                        </p:attrNameLst>
                                      </p:cBhvr>
                                      <p:to>
                                        <p:strVal val="visible"/>
                                      </p:to>
                                    </p:set>
                                    <p:anim calcmode="lin" valueType="num">
                                      <p:cBhvr additive="base">
                                        <p:cTn id="14" dur="500" fill="hold"/>
                                        <p:tgtEl>
                                          <p:spTgt spid="60"/>
                                        </p:tgtEl>
                                        <p:attrNameLst>
                                          <p:attrName>ppt_x</p:attrName>
                                        </p:attrNameLst>
                                      </p:cBhvr>
                                      <p:tavLst>
                                        <p:tav tm="0">
                                          <p:val>
                                            <p:strVal val="1+#ppt_w/2"/>
                                          </p:val>
                                        </p:tav>
                                        <p:tav tm="100000">
                                          <p:val>
                                            <p:strVal val="#ppt_x"/>
                                          </p:val>
                                        </p:tav>
                                      </p:tavLst>
                                    </p:anim>
                                    <p:anim calcmode="lin" valueType="num">
                                      <p:cBhvr additive="base">
                                        <p:cTn id="15" dur="500" fill="hold"/>
                                        <p:tgtEl>
                                          <p:spTgt spid="60"/>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87"/>
                                        </p:tgtEl>
                                        <p:attrNameLst>
                                          <p:attrName>style.visibility</p:attrName>
                                        </p:attrNameLst>
                                      </p:cBhvr>
                                      <p:to>
                                        <p:strVal val="visible"/>
                                      </p:to>
                                    </p:set>
                                    <p:animEffect transition="in" filter="strips(downLeft)">
                                      <p:cBhvr>
                                        <p:cTn id="18" dur="500"/>
                                        <p:tgtEl>
                                          <p:spTgt spid="87"/>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1+#ppt_w/2"/>
                                          </p:val>
                                        </p:tav>
                                        <p:tav tm="100000">
                                          <p:val>
                                            <p:strVal val="#ppt_x"/>
                                          </p:val>
                                        </p:tav>
                                      </p:tavLst>
                                    </p:anim>
                                    <p:anim calcmode="lin" valueType="num">
                                      <p:cBhvr additive="base">
                                        <p:cTn id="22" dur="500" fill="hold"/>
                                        <p:tgtEl>
                                          <p:spTgt spid="92"/>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93"/>
                                        </p:tgtEl>
                                        <p:attrNameLst>
                                          <p:attrName>style.visibility</p:attrName>
                                        </p:attrNameLst>
                                      </p:cBhvr>
                                      <p:to>
                                        <p:strVal val="visible"/>
                                      </p:to>
                                    </p:set>
                                    <p:animEffect transition="in" filter="strips(downLeft)">
                                      <p:cBhvr>
                                        <p:cTn id="25" dur="500"/>
                                        <p:tgtEl>
                                          <p:spTgt spid="93"/>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109"/>
                                        </p:tgtEl>
                                        <p:attrNameLst>
                                          <p:attrName>style.visibility</p:attrName>
                                        </p:attrNameLst>
                                      </p:cBhvr>
                                      <p:to>
                                        <p:strVal val="visible"/>
                                      </p:to>
                                    </p:set>
                                    <p:anim calcmode="lin" valueType="num">
                                      <p:cBhvr additive="base">
                                        <p:cTn id="28" dur="500" fill="hold"/>
                                        <p:tgtEl>
                                          <p:spTgt spid="109"/>
                                        </p:tgtEl>
                                        <p:attrNameLst>
                                          <p:attrName>ppt_x</p:attrName>
                                        </p:attrNameLst>
                                      </p:cBhvr>
                                      <p:tavLst>
                                        <p:tav tm="0">
                                          <p:val>
                                            <p:strVal val="1+#ppt_w/2"/>
                                          </p:val>
                                        </p:tav>
                                        <p:tav tm="100000">
                                          <p:val>
                                            <p:strVal val="#ppt_x"/>
                                          </p:val>
                                        </p:tav>
                                      </p:tavLst>
                                    </p:anim>
                                    <p:anim calcmode="lin" valueType="num">
                                      <p:cBhvr additive="base">
                                        <p:cTn id="29" dur="500" fill="hold"/>
                                        <p:tgtEl>
                                          <p:spTgt spid="109"/>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110"/>
                                        </p:tgtEl>
                                        <p:attrNameLst>
                                          <p:attrName>style.visibility</p:attrName>
                                        </p:attrNameLst>
                                      </p:cBhvr>
                                      <p:to>
                                        <p:strVal val="visible"/>
                                      </p:to>
                                    </p:set>
                                    <p:animEffect transition="in" filter="strips(downLeft)">
                                      <p:cBhvr>
                                        <p:cTn id="32"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92" grpId="0" animBg="1"/>
      <p:bldP spid="109" grpId="0" animBg="1"/>
      <p:bldP spid="1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noAutofit/>
          </a:bodyPr>
          <a:lstStyle/>
          <a:p>
            <a:pPr marL="273050"/>
            <a:r>
              <a:rPr lang="en-US" sz="4600" dirty="0" smtClean="0"/>
              <a:t>Microsoft </a:t>
            </a:r>
            <a:r>
              <a:rPr lang="en-US" sz="4600" dirty="0"/>
              <a:t>Azure IoT services</a:t>
            </a:r>
          </a:p>
        </p:txBody>
      </p:sp>
      <p:graphicFrame>
        <p:nvGraphicFramePr>
          <p:cNvPr id="32" name="Table 31"/>
          <p:cNvGraphicFramePr>
            <a:graphicFrameLocks noGrp="1"/>
          </p:cNvGraphicFramePr>
          <p:nvPr>
            <p:extLst/>
          </p:nvPr>
        </p:nvGraphicFramePr>
        <p:xfrm>
          <a:off x="720271" y="1385433"/>
          <a:ext cx="10779896" cy="4710566"/>
        </p:xfrm>
        <a:graphic>
          <a:graphicData uri="http://schemas.openxmlformats.org/drawingml/2006/table">
            <a:tbl>
              <a:tblPr firstRow="1" bandRow="1">
                <a:tableStyleId>{5C22544A-7EE6-4342-B048-85BDC9FD1C3A}</a:tableStyleId>
              </a:tblPr>
              <a:tblGrid>
                <a:gridCol w="1507484">
                  <a:extLst>
                    <a:ext uri="{9D8B030D-6E8A-4147-A177-3AD203B41FA5}">
                      <a16:colId xmlns:a16="http://schemas.microsoft.com/office/drawing/2014/main" xmlns="" val="20000"/>
                    </a:ext>
                  </a:extLst>
                </a:gridCol>
                <a:gridCol w="2318103">
                  <a:extLst>
                    <a:ext uri="{9D8B030D-6E8A-4147-A177-3AD203B41FA5}">
                      <a16:colId xmlns:a16="http://schemas.microsoft.com/office/drawing/2014/main" xmlns="" val="20001"/>
                    </a:ext>
                  </a:extLst>
                </a:gridCol>
                <a:gridCol w="2318103">
                  <a:extLst>
                    <a:ext uri="{9D8B030D-6E8A-4147-A177-3AD203B41FA5}">
                      <a16:colId xmlns:a16="http://schemas.microsoft.com/office/drawing/2014/main" xmlns="" val="20002"/>
                    </a:ext>
                  </a:extLst>
                </a:gridCol>
                <a:gridCol w="2318103">
                  <a:extLst>
                    <a:ext uri="{9D8B030D-6E8A-4147-A177-3AD203B41FA5}">
                      <a16:colId xmlns:a16="http://schemas.microsoft.com/office/drawing/2014/main" xmlns="" val="20003"/>
                    </a:ext>
                  </a:extLst>
                </a:gridCol>
                <a:gridCol w="2318103">
                  <a:extLst>
                    <a:ext uri="{9D8B030D-6E8A-4147-A177-3AD203B41FA5}">
                      <a16:colId xmlns:a16="http://schemas.microsoft.com/office/drawing/2014/main" xmlns="" val="20004"/>
                    </a:ext>
                  </a:extLst>
                </a:gridCol>
              </a:tblGrid>
              <a:tr h="470194">
                <a:tc>
                  <a:txBody>
                    <a:bodyPr/>
                    <a:lstStyle/>
                    <a:p>
                      <a:r>
                        <a:rPr lang="en-GB" sz="1800" b="1" dirty="0" smtClean="0">
                          <a:solidFill>
                            <a:srgbClr val="FFFFFF"/>
                          </a:solidFill>
                          <a:latin typeface="+mj-lt"/>
                        </a:rPr>
                        <a:t>Producers</a:t>
                      </a:r>
                      <a:endParaRPr lang="en-US" sz="1800" dirty="0">
                        <a:latin typeface="+mj-lt"/>
                      </a:endParaRPr>
                    </a:p>
                  </a:txBody>
                  <a:tcPr marL="84483" marR="84483" marT="42242" marB="42242"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Connect</a:t>
                      </a:r>
                      <a:r>
                        <a:rPr lang="en-GB" sz="1800" b="1" baseline="0" dirty="0" smtClean="0">
                          <a:solidFill>
                            <a:srgbClr val="FFFFFF"/>
                          </a:solidFill>
                          <a:latin typeface="+mj-lt"/>
                        </a:rPr>
                        <a:t> Devices</a:t>
                      </a:r>
                      <a:endParaRPr lang="en-GB" sz="1800" b="1" dirty="0" smtClean="0">
                        <a:solidFill>
                          <a:srgbClr val="FFFFFF"/>
                        </a:solidFill>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Storage</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Analytics</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800" b="1" kern="1200" dirty="0" smtClean="0">
                          <a:solidFill>
                            <a:srgbClr val="FFFFFF"/>
                          </a:solidFill>
                          <a:latin typeface="+mn-lt"/>
                          <a:ea typeface="+mn-ea"/>
                          <a:cs typeface="+mn-cs"/>
                        </a:rPr>
                        <a:t>Take Action</a:t>
                      </a:r>
                    </a:p>
                  </a:txBody>
                  <a:tcPr marL="84483" marR="84483"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zure Websit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1"/>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2"/>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3"/>
                  </a:ext>
                </a:extLst>
              </a:tr>
              <a:tr h="939100">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4"/>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1015538" y="1982670"/>
            <a:ext cx="840543" cy="607057"/>
            <a:chOff x="5893817" y="-2363993"/>
            <a:chExt cx="1589176" cy="114773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10" tIns="33604" rIns="67210" bIns="33604" numCol="1" rtlCol="0" anchor="ctr" anchorCtr="0" compatLnSpc="1">
              <a:prstTxWarp prst="textNoShape">
                <a:avLst/>
              </a:prstTxWarp>
            </a:bodyPr>
            <a:lstStyle/>
            <a:p>
              <a:pPr algn="ctr" defTabSz="604530">
                <a:defRPr/>
              </a:pPr>
              <a:endParaRPr lang="en-US" sz="1324"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9" tIns="32945" rIns="65889" bIns="32945" numCol="1" rtlCol="0" anchor="ctr" anchorCtr="0" compatLnSpc="1">
              <a:prstTxWarp prst="textNoShape">
                <a:avLst/>
              </a:prstTxWarp>
            </a:bodyPr>
            <a:lstStyle/>
            <a:p>
              <a:pPr algn="ctr" defTabSz="658256"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161088" y="2867021"/>
            <a:ext cx="681826" cy="506509"/>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13" tIns="33606" rIns="67213" bIns="33606" numCol="1" anchor="t" anchorCtr="0" compatLnSpc="1">
              <a:prstTxWarp prst="textNoShape">
                <a:avLst/>
              </a:prstTxWarp>
            </a:bodyPr>
            <a:lstStyle/>
            <a:p>
              <a:pPr algn="ctr" defTabSz="685204">
                <a:defRPr/>
              </a:pPr>
              <a:endParaRPr lang="en-US" sz="1324"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91" tIns="32946" rIns="65891" bIns="32946" numCol="1" anchor="t" anchorCtr="0" compatLnSpc="1">
              <a:prstTxWarp prst="textNoShape">
                <a:avLst/>
              </a:prstTxWarp>
            </a:bodyPr>
            <a:lstStyle/>
            <a:p>
              <a:pPr algn="ctr" defTabSz="65847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806554" bIns="33606" numCol="1" spcCol="0" rtlCol="0" fromWordArt="0" anchor="b" anchorCtr="0" forceAA="0" compatLnSpc="1">
              <a:prstTxWarp prst="textNoShape">
                <a:avLst/>
              </a:prstTxWarp>
              <a:noAutofit/>
            </a:bodyPr>
            <a:lstStyle/>
            <a:p>
              <a:pPr defTabSz="671483" fontAlgn="base">
                <a:spcBef>
                  <a:spcPct val="0"/>
                </a:spcBef>
                <a:spcAft>
                  <a:spcPct val="0"/>
                </a:spcAft>
                <a:defRPr/>
              </a:pPr>
              <a:endParaRPr lang="en-US" sz="1618"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178"/>
              <a:endParaRPr lang="en-US" sz="1544">
                <a:solidFill>
                  <a:srgbClr val="000000"/>
                </a:solidFill>
              </a:endParaRPr>
            </a:p>
          </p:txBody>
        </p:sp>
      </p:grpSp>
      <p:grpSp>
        <p:nvGrpSpPr>
          <p:cNvPr id="67" name="Group 66"/>
          <p:cNvGrpSpPr/>
          <p:nvPr/>
        </p:nvGrpSpPr>
        <p:grpSpPr>
          <a:xfrm>
            <a:off x="1418643" y="3686236"/>
            <a:ext cx="541502" cy="329128"/>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1324"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55" tIns="40328" rIns="40328" bIns="80655" numCol="1" spcCol="0" rtlCol="0" fromWordArt="0" anchor="b" anchorCtr="0" forceAA="0" compatLnSpc="1">
              <a:prstTxWarp prst="textNoShape">
                <a:avLst/>
              </a:prstTxWarp>
              <a:noAutofit/>
            </a:bodyPr>
            <a:lstStyle/>
            <a:p>
              <a:pPr algn="ctr" defTabSz="805781" fontAlgn="base">
                <a:spcBef>
                  <a:spcPct val="0"/>
                </a:spcBef>
                <a:spcAft>
                  <a:spcPct val="0"/>
                </a:spcAft>
                <a:defRPr/>
              </a:pPr>
              <a:endParaRPr lang="en-US" sz="1765"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097" y="3634671"/>
            <a:ext cx="470623" cy="470623"/>
          </a:xfrm>
          <a:prstGeom prst="rect">
            <a:avLst/>
          </a:prstGeom>
        </p:spPr>
      </p:pic>
      <p:pic>
        <p:nvPicPr>
          <p:cNvPr id="79" name="Picture 78"/>
          <p:cNvPicPr>
            <a:picLocks noChangeAspect="1"/>
          </p:cNvPicPr>
          <p:nvPr/>
        </p:nvPicPr>
        <p:blipFill>
          <a:blip r:embed="rId8"/>
          <a:stretch>
            <a:fillRect/>
          </a:stretch>
        </p:blipFill>
        <p:spPr>
          <a:xfrm>
            <a:off x="2467442" y="2037840"/>
            <a:ext cx="338419" cy="3902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2359232" y="3689875"/>
            <a:ext cx="463211" cy="463211"/>
          </a:xfrm>
          <a:prstGeom prst="rect">
            <a:avLst/>
          </a:prstGeom>
          <a:noFill/>
        </p:spPr>
      </p:pic>
      <p:pic>
        <p:nvPicPr>
          <p:cNvPr id="83" name="Picture 3"/>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675076" y="2013913"/>
            <a:ext cx="415468" cy="43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661387" y="2905149"/>
            <a:ext cx="442849" cy="38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94380" y="3519184"/>
            <a:ext cx="776860" cy="776860"/>
          </a:xfrm>
          <a:prstGeom prst="rect">
            <a:avLst/>
          </a:prstGeom>
        </p:spPr>
      </p:pic>
      <p:sp>
        <p:nvSpPr>
          <p:cNvPr id="89" name="TextBox 88"/>
          <p:cNvSpPr txBox="1"/>
          <p:nvPr/>
        </p:nvSpPr>
        <p:spPr>
          <a:xfrm>
            <a:off x="4715473" y="3850800"/>
            <a:ext cx="357727" cy="230832"/>
          </a:xfrm>
          <a:prstGeom prst="rect">
            <a:avLst/>
          </a:prstGeom>
          <a:noFill/>
          <a:ln>
            <a:noFill/>
            <a:headEnd type="none" w="med" len="med"/>
            <a:tailEnd type="none" w="med" len="med"/>
          </a:ln>
        </p:spPr>
        <p:txBody>
          <a:bodyPr wrap="square" lIns="0" tIns="0" rIns="0" bIns="0" rtlCol="0">
            <a:spAutoFit/>
          </a:bodyPr>
          <a:lstStyle/>
          <a:p>
            <a:pPr algn="ctr" defTabSz="685739"/>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4651207" y="4591906"/>
            <a:ext cx="463211" cy="463211"/>
          </a:xfrm>
          <a:prstGeom prst="rect">
            <a:avLst/>
          </a:prstGeom>
          <a:noFill/>
        </p:spPr>
      </p:pic>
      <p:pic>
        <p:nvPicPr>
          <p:cNvPr id="91" name="Picture 9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842948" y="1863389"/>
            <a:ext cx="739136" cy="739136"/>
          </a:xfrm>
          <a:prstGeom prst="rect">
            <a:avLst/>
          </a:prstGeom>
        </p:spPr>
      </p:pic>
      <p:pic>
        <p:nvPicPr>
          <p:cNvPr id="92" name="Picture 2"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50052" y="3735471"/>
            <a:ext cx="547976" cy="4069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6915160" y="2843409"/>
            <a:ext cx="558341" cy="453418"/>
          </a:xfrm>
          <a:prstGeom prst="rect">
            <a:avLst/>
          </a:prstGeom>
        </p:spPr>
      </p:pic>
      <p:pic>
        <p:nvPicPr>
          <p:cNvPr id="95" name="Picture 11"/>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9362681" y="2024032"/>
            <a:ext cx="421421" cy="41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437083" y="4603312"/>
            <a:ext cx="272614" cy="44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401626" y="3771591"/>
            <a:ext cx="366578" cy="366578"/>
          </a:xfrm>
          <a:prstGeom prst="rect">
            <a:avLst/>
          </a:prstGeom>
        </p:spPr>
      </p:pic>
      <p:pic>
        <p:nvPicPr>
          <p:cNvPr id="98" name="Picture 97"/>
          <p:cNvPicPr>
            <a:picLocks noChangeAspect="1"/>
          </p:cNvPicPr>
          <p:nvPr/>
        </p:nvPicPr>
        <p:blipFill rotWithShape="1">
          <a:blip r:embed="rId19" cstate="screen">
            <a:extLst>
              <a:ext uri="{28A0092B-C50C-407E-A947-70E740481C1C}">
                <a14:useLocalDpi xmlns:a14="http://schemas.microsoft.com/office/drawing/2010/main" val="0"/>
              </a:ext>
            </a:extLst>
          </a:blip>
          <a:srcRect t="-1" r="-9452" b="-4026"/>
          <a:stretch/>
        </p:blipFill>
        <p:spPr>
          <a:xfrm>
            <a:off x="9383024" y="2899174"/>
            <a:ext cx="385181" cy="373799"/>
          </a:xfrm>
          <a:prstGeom prst="rect">
            <a:avLst/>
          </a:prstGeom>
        </p:spPr>
      </p:pic>
      <p:pic>
        <p:nvPicPr>
          <p:cNvPr id="3" name="Picture 2"/>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7016345" y="4557666"/>
            <a:ext cx="470161" cy="470161"/>
          </a:xfrm>
          <a:prstGeom prst="rect">
            <a:avLst/>
          </a:prstGeom>
        </p:spPr>
      </p:pic>
      <p:pic>
        <p:nvPicPr>
          <p:cNvPr id="4" name="Picture 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454784" y="2897989"/>
            <a:ext cx="398838" cy="398838"/>
          </a:xfrm>
          <a:prstGeom prst="rect">
            <a:avLst/>
          </a:prstGeom>
        </p:spPr>
      </p:pic>
      <p:pic>
        <p:nvPicPr>
          <p:cNvPr id="5" name="Picture 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362680" y="5446357"/>
            <a:ext cx="478512" cy="478512"/>
          </a:xfrm>
          <a:prstGeom prst="rect">
            <a:avLst/>
          </a:prstGeom>
        </p:spPr>
      </p:pic>
      <p:sp>
        <p:nvSpPr>
          <p:cNvPr id="2" name="Rectangle 1"/>
          <p:cNvSpPr/>
          <p:nvPr/>
        </p:nvSpPr>
        <p:spPr>
          <a:xfrm>
            <a:off x="6935987" y="-429141"/>
            <a:ext cx="1153714" cy="369332"/>
          </a:xfrm>
          <a:prstGeom prst="rect">
            <a:avLst/>
          </a:prstGeom>
        </p:spPr>
        <p:txBody>
          <a:bodyPr wrap="none">
            <a:spAutoFit/>
          </a:bodyPr>
          <a:lstStyle/>
          <a:p>
            <a:pPr lvl="0"/>
            <a:r>
              <a:rPr lang="en-GB" b="1" dirty="0">
                <a:solidFill>
                  <a:srgbClr val="FFFFFF"/>
                </a:solidFill>
                <a:latin typeface="Segoe UI Light"/>
              </a:rPr>
              <a:t>Producers</a:t>
            </a:r>
            <a:endParaRPr lang="en-US" b="1" dirty="0">
              <a:solidFill>
                <a:prstClr val="white"/>
              </a:solidFill>
              <a:latin typeface="Segoe UI Light"/>
            </a:endParaRPr>
          </a:p>
        </p:txBody>
      </p:sp>
    </p:spTree>
    <p:extLst>
      <p:ext uri="{BB962C8B-B14F-4D97-AF65-F5344CB8AC3E}">
        <p14:creationId xmlns:p14="http://schemas.microsoft.com/office/powerpoint/2010/main" val="133832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9"/>
                                        </p:tgtEl>
                                        <p:attrNameLst>
                                          <p:attrName>style.visibility</p:attrName>
                                        </p:attrNameLst>
                                      </p:cBhvr>
                                      <p:to>
                                        <p:strVal val="visible"/>
                                      </p:to>
                                    </p:set>
                                    <p:anim calcmode="lin" valueType="num">
                                      <p:cBhvr additive="base">
                                        <p:cTn id="15" dur="500" fill="hold"/>
                                        <p:tgtEl>
                                          <p:spTgt spid="79"/>
                                        </p:tgtEl>
                                        <p:attrNameLst>
                                          <p:attrName>ppt_x</p:attrName>
                                        </p:attrNameLst>
                                      </p:cBhvr>
                                      <p:tavLst>
                                        <p:tav tm="0">
                                          <p:val>
                                            <p:strVal val="1+#ppt_w/2"/>
                                          </p:val>
                                        </p:tav>
                                        <p:tav tm="100000">
                                          <p:val>
                                            <p:strVal val="#ppt_x"/>
                                          </p:val>
                                        </p:tav>
                                      </p:tavLst>
                                    </p:anim>
                                    <p:anim calcmode="lin" valueType="num">
                                      <p:cBhvr additive="base">
                                        <p:cTn id="16" dur="500" fill="hold"/>
                                        <p:tgtEl>
                                          <p:spTgt spid="7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additive="base">
                                        <p:cTn id="19" dur="500" fill="hold"/>
                                        <p:tgtEl>
                                          <p:spTgt spid="82"/>
                                        </p:tgtEl>
                                        <p:attrNameLst>
                                          <p:attrName>ppt_x</p:attrName>
                                        </p:attrNameLst>
                                      </p:cBhvr>
                                      <p:tavLst>
                                        <p:tav tm="0">
                                          <p:val>
                                            <p:strVal val="1+#ppt_w/2"/>
                                          </p:val>
                                        </p:tav>
                                        <p:tav tm="100000">
                                          <p:val>
                                            <p:strVal val="#ppt_x"/>
                                          </p:val>
                                        </p:tav>
                                      </p:tavLst>
                                    </p:anim>
                                    <p:anim calcmode="lin" valueType="num">
                                      <p:cBhvr additive="base">
                                        <p:cTn id="20" dur="500" fill="hold"/>
                                        <p:tgtEl>
                                          <p:spTgt spid="82"/>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anim calcmode="lin" valueType="num">
                                      <p:cBhvr additive="base">
                                        <p:cTn id="23" dur="500" fill="hold"/>
                                        <p:tgtEl>
                                          <p:spTgt spid="83"/>
                                        </p:tgtEl>
                                        <p:attrNameLst>
                                          <p:attrName>ppt_x</p:attrName>
                                        </p:attrNameLst>
                                      </p:cBhvr>
                                      <p:tavLst>
                                        <p:tav tm="0">
                                          <p:val>
                                            <p:strVal val="1+#ppt_w/2"/>
                                          </p:val>
                                        </p:tav>
                                        <p:tav tm="100000">
                                          <p:val>
                                            <p:strVal val="#ppt_x"/>
                                          </p:val>
                                        </p:tav>
                                      </p:tavLst>
                                    </p:anim>
                                    <p:anim calcmode="lin" valueType="num">
                                      <p:cBhvr additive="base">
                                        <p:cTn id="24" dur="500" fill="hold"/>
                                        <p:tgtEl>
                                          <p:spTgt spid="83"/>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anim calcmode="lin" valueType="num">
                                      <p:cBhvr additive="base">
                                        <p:cTn id="27" dur="500" fill="hold"/>
                                        <p:tgtEl>
                                          <p:spTgt spid="87"/>
                                        </p:tgtEl>
                                        <p:attrNameLst>
                                          <p:attrName>ppt_x</p:attrName>
                                        </p:attrNameLst>
                                      </p:cBhvr>
                                      <p:tavLst>
                                        <p:tav tm="0">
                                          <p:val>
                                            <p:strVal val="1+#ppt_w/2"/>
                                          </p:val>
                                        </p:tav>
                                        <p:tav tm="100000">
                                          <p:val>
                                            <p:strVal val="#ppt_x"/>
                                          </p:val>
                                        </p:tav>
                                      </p:tavLst>
                                    </p:anim>
                                    <p:anim calcmode="lin" valueType="num">
                                      <p:cBhvr additive="base">
                                        <p:cTn id="28" dur="500" fill="hold"/>
                                        <p:tgtEl>
                                          <p:spTgt spid="8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500" fill="hold"/>
                                        <p:tgtEl>
                                          <p:spTgt spid="89"/>
                                        </p:tgtEl>
                                        <p:attrNameLst>
                                          <p:attrName>ppt_x</p:attrName>
                                        </p:attrNameLst>
                                      </p:cBhvr>
                                      <p:tavLst>
                                        <p:tav tm="0">
                                          <p:val>
                                            <p:strVal val="1+#ppt_w/2"/>
                                          </p:val>
                                        </p:tav>
                                        <p:tav tm="100000">
                                          <p:val>
                                            <p:strVal val="#ppt_x"/>
                                          </p:val>
                                        </p:tav>
                                      </p:tavLst>
                                    </p:anim>
                                    <p:anim calcmode="lin" valueType="num">
                                      <p:cBhvr additive="base">
                                        <p:cTn id="32" dur="500" fill="hold"/>
                                        <p:tgtEl>
                                          <p:spTgt spid="89"/>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additive="base">
                                        <p:cTn id="35" dur="500" fill="hold"/>
                                        <p:tgtEl>
                                          <p:spTgt spid="91"/>
                                        </p:tgtEl>
                                        <p:attrNameLst>
                                          <p:attrName>ppt_x</p:attrName>
                                        </p:attrNameLst>
                                      </p:cBhvr>
                                      <p:tavLst>
                                        <p:tav tm="0">
                                          <p:val>
                                            <p:strVal val="1+#ppt_w/2"/>
                                          </p:val>
                                        </p:tav>
                                        <p:tav tm="100000">
                                          <p:val>
                                            <p:strVal val="#ppt_x"/>
                                          </p:val>
                                        </p:tav>
                                      </p:tavLst>
                                    </p:anim>
                                    <p:anim calcmode="lin" valueType="num">
                                      <p:cBhvr additive="base">
                                        <p:cTn id="36" dur="500" fill="hold"/>
                                        <p:tgtEl>
                                          <p:spTgt spid="9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 calcmode="lin" valueType="num">
                                      <p:cBhvr additive="base">
                                        <p:cTn id="39" dur="500" fill="hold"/>
                                        <p:tgtEl>
                                          <p:spTgt spid="92"/>
                                        </p:tgtEl>
                                        <p:attrNameLst>
                                          <p:attrName>ppt_x</p:attrName>
                                        </p:attrNameLst>
                                      </p:cBhvr>
                                      <p:tavLst>
                                        <p:tav tm="0">
                                          <p:val>
                                            <p:strVal val="1+#ppt_w/2"/>
                                          </p:val>
                                        </p:tav>
                                        <p:tav tm="100000">
                                          <p:val>
                                            <p:strVal val="#ppt_x"/>
                                          </p:val>
                                        </p:tav>
                                      </p:tavLst>
                                    </p:anim>
                                    <p:anim calcmode="lin" valueType="num">
                                      <p:cBhvr additive="base">
                                        <p:cTn id="40" dur="500" fill="hold"/>
                                        <p:tgtEl>
                                          <p:spTgt spid="92"/>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3"/>
                                        </p:tgtEl>
                                        <p:attrNameLst>
                                          <p:attrName>style.visibility</p:attrName>
                                        </p:attrNameLst>
                                      </p:cBhvr>
                                      <p:to>
                                        <p:strVal val="visible"/>
                                      </p:to>
                                    </p:set>
                                    <p:anim calcmode="lin" valueType="num">
                                      <p:cBhvr additive="base">
                                        <p:cTn id="43" dur="500" fill="hold"/>
                                        <p:tgtEl>
                                          <p:spTgt spid="93"/>
                                        </p:tgtEl>
                                        <p:attrNameLst>
                                          <p:attrName>ppt_x</p:attrName>
                                        </p:attrNameLst>
                                      </p:cBhvr>
                                      <p:tavLst>
                                        <p:tav tm="0">
                                          <p:val>
                                            <p:strVal val="1+#ppt_w/2"/>
                                          </p:val>
                                        </p:tav>
                                        <p:tav tm="100000">
                                          <p:val>
                                            <p:strVal val="#ppt_x"/>
                                          </p:val>
                                        </p:tav>
                                      </p:tavLst>
                                    </p:anim>
                                    <p:anim calcmode="lin" valueType="num">
                                      <p:cBhvr additive="base">
                                        <p:cTn id="44" dur="500" fill="hold"/>
                                        <p:tgtEl>
                                          <p:spTgt spid="93"/>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 calcmode="lin" valueType="num">
                                      <p:cBhvr additive="base">
                                        <p:cTn id="47" dur="500" fill="hold"/>
                                        <p:tgtEl>
                                          <p:spTgt spid="95"/>
                                        </p:tgtEl>
                                        <p:attrNameLst>
                                          <p:attrName>ppt_x</p:attrName>
                                        </p:attrNameLst>
                                      </p:cBhvr>
                                      <p:tavLst>
                                        <p:tav tm="0">
                                          <p:val>
                                            <p:strVal val="1+#ppt_w/2"/>
                                          </p:val>
                                        </p:tav>
                                        <p:tav tm="100000">
                                          <p:val>
                                            <p:strVal val="#ppt_x"/>
                                          </p:val>
                                        </p:tav>
                                      </p:tavLst>
                                    </p:anim>
                                    <p:anim calcmode="lin" valueType="num">
                                      <p:cBhvr additive="base">
                                        <p:cTn id="48" dur="500" fill="hold"/>
                                        <p:tgtEl>
                                          <p:spTgt spid="95"/>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1+#ppt_w/2"/>
                                          </p:val>
                                        </p:tav>
                                        <p:tav tm="100000">
                                          <p:val>
                                            <p:strVal val="#ppt_x"/>
                                          </p:val>
                                        </p:tav>
                                      </p:tavLst>
                                    </p:anim>
                                    <p:anim calcmode="lin" valueType="num">
                                      <p:cBhvr additive="base">
                                        <p:cTn id="52" dur="500" fill="hold"/>
                                        <p:tgtEl>
                                          <p:spTgt spid="9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97"/>
                                        </p:tgtEl>
                                        <p:attrNameLst>
                                          <p:attrName>style.visibility</p:attrName>
                                        </p:attrNameLst>
                                      </p:cBhvr>
                                      <p:to>
                                        <p:strVal val="visible"/>
                                      </p:to>
                                    </p:set>
                                    <p:anim calcmode="lin" valueType="num">
                                      <p:cBhvr additive="base">
                                        <p:cTn id="55" dur="500" fill="hold"/>
                                        <p:tgtEl>
                                          <p:spTgt spid="97"/>
                                        </p:tgtEl>
                                        <p:attrNameLst>
                                          <p:attrName>ppt_x</p:attrName>
                                        </p:attrNameLst>
                                      </p:cBhvr>
                                      <p:tavLst>
                                        <p:tav tm="0">
                                          <p:val>
                                            <p:strVal val="1+#ppt_w/2"/>
                                          </p:val>
                                        </p:tav>
                                        <p:tav tm="100000">
                                          <p:val>
                                            <p:strVal val="#ppt_x"/>
                                          </p:val>
                                        </p:tav>
                                      </p:tavLst>
                                    </p:anim>
                                    <p:anim calcmode="lin" valueType="num">
                                      <p:cBhvr additive="base">
                                        <p:cTn id="56" dur="500" fill="hold"/>
                                        <p:tgtEl>
                                          <p:spTgt spid="97"/>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anim calcmode="lin" valueType="num">
                                      <p:cBhvr additive="base">
                                        <p:cTn id="59" dur="500" fill="hold"/>
                                        <p:tgtEl>
                                          <p:spTgt spid="98"/>
                                        </p:tgtEl>
                                        <p:attrNameLst>
                                          <p:attrName>ppt_x</p:attrName>
                                        </p:attrNameLst>
                                      </p:cBhvr>
                                      <p:tavLst>
                                        <p:tav tm="0">
                                          <p:val>
                                            <p:strVal val="1+#ppt_w/2"/>
                                          </p:val>
                                        </p:tav>
                                        <p:tav tm="100000">
                                          <p:val>
                                            <p:strVal val="#ppt_x"/>
                                          </p:val>
                                        </p:tav>
                                      </p:tavLst>
                                    </p:anim>
                                    <p:anim calcmode="lin" valueType="num">
                                      <p:cBhvr additive="base">
                                        <p:cTn id="60" dur="500" fill="hold"/>
                                        <p:tgtEl>
                                          <p:spTgt spid="98"/>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anim calcmode="lin" valueType="num">
                                      <p:cBhvr additive="base">
                                        <p:cTn id="63" dur="500" fill="hold"/>
                                        <p:tgtEl>
                                          <p:spTgt spid="67"/>
                                        </p:tgtEl>
                                        <p:attrNameLst>
                                          <p:attrName>ppt_x</p:attrName>
                                        </p:attrNameLst>
                                      </p:cBhvr>
                                      <p:tavLst>
                                        <p:tav tm="0">
                                          <p:val>
                                            <p:strVal val="1+#ppt_w/2"/>
                                          </p:val>
                                        </p:tav>
                                        <p:tav tm="100000">
                                          <p:val>
                                            <p:strVal val="#ppt_x"/>
                                          </p:val>
                                        </p:tav>
                                      </p:tavLst>
                                    </p:anim>
                                    <p:anim calcmode="lin" valueType="num">
                                      <p:cBhvr additive="base">
                                        <p:cTn id="64" dur="500" fill="hold"/>
                                        <p:tgtEl>
                                          <p:spTgt spid="67"/>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 calcmode="lin" valueType="num">
                                      <p:cBhvr additive="base">
                                        <p:cTn id="67" dur="500" fill="hold"/>
                                        <p:tgtEl>
                                          <p:spTgt spid="43"/>
                                        </p:tgtEl>
                                        <p:attrNameLst>
                                          <p:attrName>ppt_x</p:attrName>
                                        </p:attrNameLst>
                                      </p:cBhvr>
                                      <p:tavLst>
                                        <p:tav tm="0">
                                          <p:val>
                                            <p:strVal val="1+#ppt_w/2"/>
                                          </p:val>
                                        </p:tav>
                                        <p:tav tm="100000">
                                          <p:val>
                                            <p:strVal val="#ppt_x"/>
                                          </p:val>
                                        </p:tav>
                                      </p:tavLst>
                                    </p:anim>
                                    <p:anim calcmode="lin" valueType="num">
                                      <p:cBhvr additive="base">
                                        <p:cTn id="68" dur="500" fill="hold"/>
                                        <p:tgtEl>
                                          <p:spTgt spid="4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 calcmode="lin" valueType="num">
                                      <p:cBhvr additive="base">
                                        <p:cTn id="71" dur="500" fill="hold"/>
                                        <p:tgtEl>
                                          <p:spTgt spid="33"/>
                                        </p:tgtEl>
                                        <p:attrNameLst>
                                          <p:attrName>ppt_x</p:attrName>
                                        </p:attrNameLst>
                                      </p:cBhvr>
                                      <p:tavLst>
                                        <p:tav tm="0">
                                          <p:val>
                                            <p:strVal val="1+#ppt_w/2"/>
                                          </p:val>
                                        </p:tav>
                                        <p:tav tm="100000">
                                          <p:val>
                                            <p:strVal val="#ppt_x"/>
                                          </p:val>
                                        </p:tav>
                                      </p:tavLst>
                                    </p:anim>
                                    <p:anim calcmode="lin" valueType="num">
                                      <p:cBhvr additive="base">
                                        <p:cTn id="72" dur="500" fill="hold"/>
                                        <p:tgtEl>
                                          <p:spTgt spid="3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90"/>
                                        </p:tgtEl>
                                        <p:attrNameLst>
                                          <p:attrName>style.visibility</p:attrName>
                                        </p:attrNameLst>
                                      </p:cBhvr>
                                      <p:to>
                                        <p:strVal val="visible"/>
                                      </p:to>
                                    </p:set>
                                    <p:anim calcmode="lin" valueType="num">
                                      <p:cBhvr additive="base">
                                        <p:cTn id="75" dur="500" fill="hold"/>
                                        <p:tgtEl>
                                          <p:spTgt spid="90"/>
                                        </p:tgtEl>
                                        <p:attrNameLst>
                                          <p:attrName>ppt_x</p:attrName>
                                        </p:attrNameLst>
                                      </p:cBhvr>
                                      <p:tavLst>
                                        <p:tav tm="0">
                                          <p:val>
                                            <p:strVal val="1+#ppt_w/2"/>
                                          </p:val>
                                        </p:tav>
                                        <p:tav tm="100000">
                                          <p:val>
                                            <p:strVal val="#ppt_x"/>
                                          </p:val>
                                        </p:tav>
                                      </p:tavLst>
                                    </p:anim>
                                    <p:anim calcmode="lin" valueType="num">
                                      <p:cBhvr additive="base">
                                        <p:cTn id="76" dur="500" fill="hold"/>
                                        <p:tgtEl>
                                          <p:spTgt spid="90"/>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8"/>
                                        </p:tgtEl>
                                        <p:attrNameLst>
                                          <p:attrName>style.visibility</p:attrName>
                                        </p:attrNameLst>
                                      </p:cBhvr>
                                      <p:to>
                                        <p:strVal val="visible"/>
                                      </p:to>
                                    </p:set>
                                    <p:anim calcmode="lin" valueType="num">
                                      <p:cBhvr additive="base">
                                        <p:cTn id="79" dur="500" fill="hold"/>
                                        <p:tgtEl>
                                          <p:spTgt spid="88"/>
                                        </p:tgtEl>
                                        <p:attrNameLst>
                                          <p:attrName>ppt_x</p:attrName>
                                        </p:attrNameLst>
                                      </p:cBhvr>
                                      <p:tavLst>
                                        <p:tav tm="0">
                                          <p:val>
                                            <p:strVal val="1+#ppt_w/2"/>
                                          </p:val>
                                        </p:tav>
                                        <p:tav tm="100000">
                                          <p:val>
                                            <p:strVal val="#ppt_x"/>
                                          </p:val>
                                        </p:tav>
                                      </p:tavLst>
                                    </p:anim>
                                    <p:anim calcmode="lin" valueType="num">
                                      <p:cBhvr additive="base">
                                        <p:cTn id="80" dur="500" fill="hold"/>
                                        <p:tgtEl>
                                          <p:spTgt spid="88"/>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1+#ppt_w/2"/>
                                          </p:val>
                                        </p:tav>
                                        <p:tav tm="100000">
                                          <p:val>
                                            <p:strVal val="#ppt_x"/>
                                          </p:val>
                                        </p:tav>
                                      </p:tavLst>
                                    </p:anim>
                                    <p:anim calcmode="lin" valueType="num">
                                      <p:cBhvr additive="base">
                                        <p:cTn id="84" dur="500" fill="hold"/>
                                        <p:tgtEl>
                                          <p:spTgt spid="3"/>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
                                        </p:tgtEl>
                                        <p:attrNameLst>
                                          <p:attrName>style.visibility</p:attrName>
                                        </p:attrNameLst>
                                      </p:cBhvr>
                                      <p:to>
                                        <p:strVal val="visible"/>
                                      </p:to>
                                    </p:set>
                                    <p:anim calcmode="lin" valueType="num">
                                      <p:cBhvr additive="base">
                                        <p:cTn id="87" dur="500" fill="hold"/>
                                        <p:tgtEl>
                                          <p:spTgt spid="4"/>
                                        </p:tgtEl>
                                        <p:attrNameLst>
                                          <p:attrName>ppt_x</p:attrName>
                                        </p:attrNameLst>
                                      </p:cBhvr>
                                      <p:tavLst>
                                        <p:tav tm="0">
                                          <p:val>
                                            <p:strVal val="1+#ppt_w/2"/>
                                          </p:val>
                                        </p:tav>
                                        <p:tav tm="100000">
                                          <p:val>
                                            <p:strVal val="#ppt_x"/>
                                          </p:val>
                                        </p:tav>
                                      </p:tavLst>
                                    </p:anim>
                                    <p:anim calcmode="lin" valueType="num">
                                      <p:cBhvr additive="base">
                                        <p:cTn id="88" dur="500" fill="hold"/>
                                        <p:tgtEl>
                                          <p:spTgt spid="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5"/>
                                        </p:tgtEl>
                                        <p:attrNameLst>
                                          <p:attrName>style.visibility</p:attrName>
                                        </p:attrNameLst>
                                      </p:cBhvr>
                                      <p:to>
                                        <p:strVal val="visible"/>
                                      </p:to>
                                    </p:set>
                                    <p:anim calcmode="lin" valueType="num">
                                      <p:cBhvr additive="base">
                                        <p:cTn id="91" dur="500" fill="hold"/>
                                        <p:tgtEl>
                                          <p:spTgt spid="5"/>
                                        </p:tgtEl>
                                        <p:attrNameLst>
                                          <p:attrName>ppt_x</p:attrName>
                                        </p:attrNameLst>
                                      </p:cBhvr>
                                      <p:tavLst>
                                        <p:tav tm="0">
                                          <p:val>
                                            <p:strVal val="1+#ppt_w/2"/>
                                          </p:val>
                                        </p:tav>
                                        <p:tav tm="100000">
                                          <p:val>
                                            <p:strVal val="#ppt_x"/>
                                          </p:val>
                                        </p:tav>
                                      </p:tavLst>
                                    </p:anim>
                                    <p:anim calcmode="lin" valueType="num">
                                      <p:cBhvr additive="base">
                                        <p:cTn id="9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3399" y="1600200"/>
            <a:ext cx="10492564"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 to build a Proof of Concept… that scale to full production … </a:t>
            </a:r>
            <a:r>
              <a:rPr lang="en-US" sz="1400" b="1" dirty="0">
                <a:latin typeface="Segoe UI" panose="020B0502040204020203" pitchFamily="34" charset="0"/>
                <a:ea typeface="Segoe UI" panose="020B0502040204020203" pitchFamily="34" charset="0"/>
                <a:cs typeface="Segoe UI" panose="020B0502040204020203" pitchFamily="34" charset="0"/>
              </a:rPr>
              <a:t>on any asset </a:t>
            </a:r>
          </a:p>
          <a:p>
            <a:endParaRPr lang="en-US" sz="1400" dirty="0">
              <a:ea typeface="Segoe UI" panose="020B0502040204020203" pitchFamily="34" charset="0"/>
              <a:cs typeface="Segoe UI" panose="020B0502040204020203" pitchFamily="34" charset="0"/>
            </a:endParaRPr>
          </a:p>
          <a:p>
            <a:endParaRPr lang="en-US" sz="1400" b="1" dirty="0">
              <a:latin typeface="Segoe UI Semibold" panose="020B0702040204020203" pitchFamily="34" charset="0"/>
              <a:cs typeface="Segoe UI Light" panose="020B0502040204020203" pitchFamily="34" charset="0"/>
            </a:endParaRPr>
          </a:p>
        </p:txBody>
      </p:sp>
      <p:sp>
        <p:nvSpPr>
          <p:cNvPr id="107" name="Oval 211"/>
          <p:cNvSpPr>
            <a:spLocks noChangeAspect="1"/>
          </p:cNvSpPr>
          <p:nvPr/>
        </p:nvSpPr>
        <p:spPr bwMode="auto">
          <a:xfrm>
            <a:off x="5195755" y="3115521"/>
            <a:ext cx="3078891" cy="1948645"/>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grpSp>
        <p:nvGrpSpPr>
          <p:cNvPr id="110" name="Group 109"/>
          <p:cNvGrpSpPr/>
          <p:nvPr/>
        </p:nvGrpSpPr>
        <p:grpSpPr>
          <a:xfrm>
            <a:off x="3962464" y="3359402"/>
            <a:ext cx="5673567" cy="1528790"/>
            <a:chOff x="2520522" y="3153003"/>
            <a:chExt cx="5673567" cy="1528790"/>
          </a:xfrm>
          <a:solidFill>
            <a:schemeClr val="tx2">
              <a:lumMod val="50000"/>
              <a:lumOff val="50000"/>
            </a:schemeClr>
          </a:solidFill>
        </p:grpSpPr>
        <p:sp>
          <p:nvSpPr>
            <p:cNvPr id="111"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Oval 111"/>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3" name="Oval 112"/>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4" name="Oval 113"/>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5" name="Oval 114"/>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6" name="Oval 115"/>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7" name="Oval 116"/>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8" name="Oval 117"/>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9" name="Oval 118"/>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0" name="Oval 119"/>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Oval 120"/>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2" name="Oval 121"/>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3" name="Oval 122"/>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Oval 123"/>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Oval 124"/>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Oval 125"/>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7" name="Oval 126"/>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28" name="Group 127"/>
          <p:cNvGrpSpPr/>
          <p:nvPr/>
        </p:nvGrpSpPr>
        <p:grpSpPr>
          <a:xfrm>
            <a:off x="4361871" y="3429621"/>
            <a:ext cx="4679670" cy="1413064"/>
            <a:chOff x="2919929" y="3223222"/>
            <a:chExt cx="4679670" cy="1413064"/>
          </a:xfrm>
        </p:grpSpPr>
        <p:sp>
          <p:nvSpPr>
            <p:cNvPr id="129" name="Freeform 128"/>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0" name="Freeform 129"/>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1" name="Freeform 130"/>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2" name="Freeform 131"/>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3" name="Freeform 132"/>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4" name="Freeform 133"/>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5" name="Freeform 134"/>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36" name="Straight Connector 13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7" name="Straight Connector 136"/>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Freeform 137"/>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9" name="Freeform 138"/>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0" name="Freeform 139"/>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1" name="Freeform 140"/>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2" name="Freeform 141"/>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3" name="Freeform 142"/>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4" name="Freeform 143"/>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nvGrpSpPr>
          <p:cNvPr id="145" name="Group 144"/>
          <p:cNvGrpSpPr/>
          <p:nvPr/>
        </p:nvGrpSpPr>
        <p:grpSpPr>
          <a:xfrm>
            <a:off x="4058454" y="3441869"/>
            <a:ext cx="5421568" cy="1358892"/>
            <a:chOff x="2616512" y="3235470"/>
            <a:chExt cx="5421568" cy="1358892"/>
          </a:xfrm>
          <a:solidFill>
            <a:schemeClr val="bg1"/>
          </a:solidFill>
        </p:grpSpPr>
        <p:sp>
          <p:nvSpPr>
            <p:cNvPr id="146" name="Freeform 14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2"/>
                </a:solidFill>
              </a:endParaRPr>
            </a:p>
          </p:txBody>
        </p:sp>
        <p:sp>
          <p:nvSpPr>
            <p:cNvPr id="14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8" name="Group 147"/>
            <p:cNvGrpSpPr/>
            <p:nvPr/>
          </p:nvGrpSpPr>
          <p:grpSpPr>
            <a:xfrm>
              <a:off x="2616512" y="3235470"/>
              <a:ext cx="5421568" cy="1358892"/>
              <a:chOff x="2616512" y="3235470"/>
              <a:chExt cx="5421568" cy="1358892"/>
            </a:xfrm>
            <a:grpFill/>
          </p:grpSpPr>
          <p:sp>
            <p:nvSpPr>
              <p:cNvPr id="149"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solidFill>
                    <a:schemeClr val="accent2"/>
                  </a:solidFill>
                  <a:latin typeface="Segoe UI" pitchFamily="34" charset="0"/>
                  <a:ea typeface="Segoe UI" pitchFamily="34" charset="0"/>
                  <a:cs typeface="Segoe UI" pitchFamily="34" charset="0"/>
                </a:endParaRPr>
              </a:p>
            </p:txBody>
          </p:sp>
          <p:sp>
            <p:nvSpPr>
              <p:cNvPr id="150"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1" name="Freeform 150"/>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smtClean="0"/>
              </a:p>
            </p:txBody>
          </p:sp>
          <p:sp>
            <p:nvSpPr>
              <p:cNvPr id="152" name="Freeform 151"/>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dirty="0"/>
              </a:p>
            </p:txBody>
          </p:sp>
          <p:sp>
            <p:nvSpPr>
              <p:cNvPr id="153"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Freeform 154"/>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2"/>
                  </a:solidFill>
                </a:endParaRPr>
              </a:p>
            </p:txBody>
          </p:sp>
          <p:sp>
            <p:nvSpPr>
              <p:cNvPr id="156"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50" normalizeH="0" baseline="0" noProof="0" dirty="0" smtClean="0">
                  <a:ln>
                    <a:noFill/>
                  </a:ln>
                  <a:solidFill>
                    <a:schemeClr val="accent2"/>
                  </a:solidFill>
                  <a:effectLst/>
                  <a:uLnTx/>
                  <a:uFillTx/>
                  <a:latin typeface="Segoe Light" pitchFamily="34" charset="0"/>
                  <a:ea typeface="+mn-ea"/>
                  <a:cs typeface="+mn-cs"/>
                </a:endParaRPr>
              </a:p>
            </p:txBody>
          </p:sp>
          <p:sp>
            <p:nvSpPr>
              <p:cNvPr id="157"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8" name="Freeform 157"/>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9"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0"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1"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 name="andriod"/>
          <p:cNvGrpSpPr/>
          <p:nvPr/>
        </p:nvGrpSpPr>
        <p:grpSpPr>
          <a:xfrm>
            <a:off x="4630686" y="5153402"/>
            <a:ext cx="1022413" cy="972061"/>
            <a:chOff x="5392393" y="4336961"/>
            <a:chExt cx="744699" cy="708024"/>
          </a:xfrm>
          <a:solidFill>
            <a:schemeClr val="accent6"/>
          </a:solidFill>
        </p:grpSpPr>
        <p:sp>
          <p:nvSpPr>
            <p:cNvPr id="91" name="Freeform 11"/>
            <p:cNvSpPr>
              <a:spLocks noEditPoints="1"/>
            </p:cNvSpPr>
            <p:nvPr/>
          </p:nvSpPr>
          <p:spPr bwMode="black">
            <a:xfrm>
              <a:off x="5551973" y="4336961"/>
              <a:ext cx="430776" cy="530359"/>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669900"/>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5"/>
            <p:cNvSpPr>
              <a:spLocks noEditPoints="1"/>
            </p:cNvSpPr>
            <p:nvPr/>
          </p:nvSpPr>
          <p:spPr bwMode="black">
            <a:xfrm>
              <a:off x="5392393" y="4939286"/>
              <a:ext cx="744699" cy="105699"/>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8669" y="2122433"/>
            <a:ext cx="1369012" cy="1026759"/>
          </a:xfrm>
          <a:prstGeom prst="rect">
            <a:avLst/>
          </a:prstGeom>
        </p:spPr>
      </p:pic>
      <p:pic>
        <p:nvPicPr>
          <p:cNvPr id="94" name="io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1382" y="5257908"/>
            <a:ext cx="1211336" cy="623635"/>
          </a:xfrm>
          <a:prstGeom prst="rect">
            <a:avLst/>
          </a:prstGeom>
        </p:spPr>
      </p:pic>
      <p:sp>
        <p:nvSpPr>
          <p:cNvPr id="95" name="windows"/>
          <p:cNvSpPr>
            <a:spLocks noChangeAspect="1" noEditPoints="1"/>
          </p:cNvSpPr>
          <p:nvPr/>
        </p:nvSpPr>
        <p:spPr bwMode="black">
          <a:xfrm>
            <a:off x="3745518" y="2472495"/>
            <a:ext cx="2178305" cy="485937"/>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84" name="Group 83"/>
          <p:cNvGrpSpPr/>
          <p:nvPr/>
        </p:nvGrpSpPr>
        <p:grpSpPr>
          <a:xfrm>
            <a:off x="834941" y="4283959"/>
            <a:ext cx="2298318" cy="1005840"/>
            <a:chOff x="834941" y="2145937"/>
            <a:chExt cx="2298318" cy="1005840"/>
          </a:xfrm>
          <a:noFill/>
        </p:grpSpPr>
        <p:sp>
          <p:nvSpPr>
            <p:cNvPr id="86" name="Rectangle 85"/>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87" name="Group 86"/>
            <p:cNvGrpSpPr/>
            <p:nvPr/>
          </p:nvGrpSpPr>
          <p:grpSpPr>
            <a:xfrm>
              <a:off x="2438255" y="2261365"/>
              <a:ext cx="625795" cy="518026"/>
              <a:chOff x="16659225" y="-4403725"/>
              <a:chExt cx="3724275" cy="3082925"/>
            </a:xfrm>
            <a:grpFill/>
          </p:grpSpPr>
          <p:sp>
            <p:nvSpPr>
              <p:cNvPr id="88"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89"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96" name="Group 95"/>
          <p:cNvGrpSpPr/>
          <p:nvPr/>
        </p:nvGrpSpPr>
        <p:grpSpPr>
          <a:xfrm>
            <a:off x="834941" y="3212127"/>
            <a:ext cx="2298318" cy="1005840"/>
            <a:chOff x="834941" y="3212127"/>
            <a:chExt cx="2298318" cy="1005840"/>
          </a:xfrm>
          <a:noFill/>
        </p:grpSpPr>
        <p:sp>
          <p:nvSpPr>
            <p:cNvPr id="97" name="Rectangle 96"/>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98" name="Freeform 97"/>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99" name="Group 98"/>
          <p:cNvGrpSpPr/>
          <p:nvPr/>
        </p:nvGrpSpPr>
        <p:grpSpPr>
          <a:xfrm>
            <a:off x="834941" y="2151579"/>
            <a:ext cx="2298318" cy="1005840"/>
            <a:chOff x="834941" y="4278317"/>
            <a:chExt cx="2298318" cy="1005840"/>
          </a:xfrm>
          <a:noFill/>
        </p:grpSpPr>
        <p:sp>
          <p:nvSpPr>
            <p:cNvPr id="100" name="Rectangle 99"/>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101"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102" name="Group 101"/>
          <p:cNvGrpSpPr/>
          <p:nvPr/>
        </p:nvGrpSpPr>
        <p:grpSpPr>
          <a:xfrm>
            <a:off x="834941" y="5344507"/>
            <a:ext cx="2298318" cy="1005840"/>
            <a:chOff x="834941" y="5344507"/>
            <a:chExt cx="2298318" cy="1005840"/>
          </a:xfrm>
          <a:noFill/>
        </p:grpSpPr>
        <p:sp>
          <p:nvSpPr>
            <p:cNvPr id="103" name="Rectangle 102"/>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104" name="Group 103"/>
            <p:cNvGrpSpPr>
              <a:grpSpLocks noChangeAspect="1"/>
            </p:cNvGrpSpPr>
            <p:nvPr/>
          </p:nvGrpSpPr>
          <p:grpSpPr>
            <a:xfrm>
              <a:off x="2445769" y="5457513"/>
              <a:ext cx="641175" cy="640080"/>
              <a:chOff x="5630862" y="2964656"/>
              <a:chExt cx="930275" cy="928688"/>
            </a:xfrm>
            <a:grpFill/>
          </p:grpSpPr>
          <p:sp>
            <p:nvSpPr>
              <p:cNvPr id="105" name="Freeform 104"/>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06" name="Freeform 105"/>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3" name="Freeform 162"/>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4" name="Freeform 163"/>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5" name="Freeform 164"/>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6" name="Rectangle 165"/>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166411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56539" y="0"/>
            <a:ext cx="10348490" cy="6885132"/>
          </a:xfrm>
          <a:prstGeom prst="rect">
            <a:avLst/>
          </a:prstGeom>
        </p:spPr>
      </p:pic>
    </p:spTree>
    <p:extLst>
      <p:ext uri="{BB962C8B-B14F-4D97-AF65-F5344CB8AC3E}">
        <p14:creationId xmlns:p14="http://schemas.microsoft.com/office/powerpoint/2010/main" val="1019694271"/>
      </p:ext>
    </p:extLst>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5630" y="2084364"/>
            <a:ext cx="2644453" cy="2689274"/>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Things</a:t>
            </a:r>
          </a:p>
        </p:txBody>
      </p:sp>
      <p:grpSp>
        <p:nvGrpSpPr>
          <p:cNvPr id="3" name="Group 2"/>
          <p:cNvGrpSpPr/>
          <p:nvPr/>
        </p:nvGrpSpPr>
        <p:grpSpPr>
          <a:xfrm>
            <a:off x="1516176" y="3614944"/>
            <a:ext cx="1180812" cy="952102"/>
            <a:chOff x="1640724" y="3762844"/>
            <a:chExt cx="1110344" cy="895283"/>
          </a:xfrm>
        </p:grpSpPr>
        <p:grpSp>
          <p:nvGrpSpPr>
            <p:cNvPr id="4" name="Group 3"/>
            <p:cNvGrpSpPr/>
            <p:nvPr/>
          </p:nvGrpSpPr>
          <p:grpSpPr>
            <a:xfrm flipH="1">
              <a:off x="2101550" y="3865418"/>
              <a:ext cx="649518" cy="279906"/>
              <a:chOff x="18524538" y="-23752175"/>
              <a:chExt cx="41830625" cy="18087975"/>
            </a:xfrm>
            <a:solidFill>
              <a:schemeClr val="bg1"/>
            </a:solidFill>
          </p:grpSpPr>
          <p:sp>
            <p:nvSpPr>
              <p:cNvPr id="22"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23"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24"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grpSp>
          <p:nvGrpSpPr>
            <p:cNvPr id="5" name="Group 4"/>
            <p:cNvGrpSpPr/>
            <p:nvPr/>
          </p:nvGrpSpPr>
          <p:grpSpPr>
            <a:xfrm flipH="1">
              <a:off x="2200373" y="4223497"/>
              <a:ext cx="522120" cy="432207"/>
              <a:chOff x="16659225" y="-4403725"/>
              <a:chExt cx="3724275" cy="3082925"/>
            </a:xfrm>
            <a:solidFill>
              <a:schemeClr val="bg1"/>
            </a:solidFill>
          </p:grpSpPr>
          <p:sp>
            <p:nvSpPr>
              <p:cNvPr id="20"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21"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6" name="Group 5"/>
            <p:cNvGrpSpPr/>
            <p:nvPr/>
          </p:nvGrpSpPr>
          <p:grpSpPr>
            <a:xfrm>
              <a:off x="1737360" y="3762844"/>
              <a:ext cx="255760" cy="423605"/>
              <a:chOff x="2981515" y="4282797"/>
              <a:chExt cx="371475" cy="615261"/>
            </a:xfrm>
          </p:grpSpPr>
          <p:sp>
            <p:nvSpPr>
              <p:cNvPr id="17"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8"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9"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7" name="Group 6"/>
            <p:cNvGrpSpPr/>
            <p:nvPr/>
          </p:nvGrpSpPr>
          <p:grpSpPr>
            <a:xfrm>
              <a:off x="1640724" y="4275400"/>
              <a:ext cx="481642" cy="382727"/>
              <a:chOff x="-3435350" y="5073650"/>
              <a:chExt cx="3192462" cy="2536826"/>
            </a:xfrm>
            <a:solidFill>
              <a:schemeClr val="bg1"/>
            </a:solidFill>
          </p:grpSpPr>
          <p:sp>
            <p:nvSpPr>
              <p:cNvPr id="8"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9"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0"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1"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4"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5"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6"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spTree>
    <p:extLst>
      <p:ext uri="{BB962C8B-B14F-4D97-AF65-F5344CB8AC3E}">
        <p14:creationId xmlns:p14="http://schemas.microsoft.com/office/powerpoint/2010/main" val="29638083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203116" y="6488668"/>
            <a:ext cx="5988884" cy="369332"/>
          </a:xfrm>
          <a:prstGeom prst="rect">
            <a:avLst/>
          </a:prstGeom>
        </p:spPr>
        <p:txBody>
          <a:bodyPr wrap="none">
            <a:spAutoFit/>
          </a:bodyPr>
          <a:lstStyle/>
          <a:p>
            <a:r>
              <a:rPr lang="en-US" dirty="0"/>
              <a:t>http://www.eetimes.com/document.asp?doc_id=1325181</a:t>
            </a:r>
          </a:p>
        </p:txBody>
      </p:sp>
      <p:sp>
        <p:nvSpPr>
          <p:cNvPr id="4" name="Rectangle 3"/>
          <p:cNvSpPr/>
          <p:nvPr/>
        </p:nvSpPr>
        <p:spPr>
          <a:xfrm>
            <a:off x="612321" y="1677379"/>
            <a:ext cx="10818659" cy="2585323"/>
          </a:xfrm>
          <a:prstGeom prst="rect">
            <a:avLst/>
          </a:prstGeom>
        </p:spPr>
        <p:txBody>
          <a:bodyPr wrap="square">
            <a:spAutoFit/>
          </a:bodyPr>
          <a:lstStyle/>
          <a:p>
            <a:pPr algn="ctr"/>
            <a:r>
              <a:rPr lang="en-US" sz="5400" dirty="0" smtClean="0">
                <a:solidFill>
                  <a:srgbClr val="5E5E5E"/>
                </a:solidFill>
                <a:latin typeface="arial" panose="020B0604020202020204" pitchFamily="34" charset="0"/>
              </a:rPr>
              <a:t>Samsung CEO BK Yoon promised </a:t>
            </a:r>
            <a:r>
              <a:rPr lang="en-US" sz="5400" dirty="0">
                <a:solidFill>
                  <a:srgbClr val="5E5E5E"/>
                </a:solidFill>
                <a:latin typeface="arial" panose="020B0604020202020204" pitchFamily="34" charset="0"/>
              </a:rPr>
              <a:t>that by 2017, </a:t>
            </a:r>
            <a:r>
              <a:rPr lang="en-US" sz="5400" b="1" dirty="0">
                <a:solidFill>
                  <a:srgbClr val="5E5E5E"/>
                </a:solidFill>
                <a:latin typeface="arial" panose="020B0604020202020204" pitchFamily="34" charset="0"/>
              </a:rPr>
              <a:t>90%</a:t>
            </a:r>
            <a:r>
              <a:rPr lang="en-US" sz="5400" dirty="0">
                <a:solidFill>
                  <a:srgbClr val="5E5E5E"/>
                </a:solidFill>
                <a:latin typeface="arial" panose="020B0604020202020204" pitchFamily="34" charset="0"/>
              </a:rPr>
              <a:t> of Samsung devices will be IoT </a:t>
            </a:r>
            <a:r>
              <a:rPr lang="en-US" sz="5400" dirty="0" smtClean="0">
                <a:solidFill>
                  <a:srgbClr val="5E5E5E"/>
                </a:solidFill>
                <a:latin typeface="arial" panose="020B0604020202020204" pitchFamily="34" charset="0"/>
              </a:rPr>
              <a:t>devices</a:t>
            </a:r>
            <a:endParaRPr lang="en-US" sz="5400" dirty="0"/>
          </a:p>
        </p:txBody>
      </p:sp>
    </p:spTree>
    <p:extLst>
      <p:ext uri="{BB962C8B-B14F-4D97-AF65-F5344CB8AC3E}">
        <p14:creationId xmlns:p14="http://schemas.microsoft.com/office/powerpoint/2010/main" val="505133514"/>
      </p:ext>
    </p:extLst>
  </p:cSld>
  <p:clrMapOvr>
    <a:masterClrMapping/>
  </p:clrMapOvr>
  <p:transition spd="slow">
    <p:pu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64635" y="62960"/>
            <a:ext cx="6481295" cy="6795040"/>
          </a:xfrm>
          <a:prstGeom prst="rect">
            <a:avLst/>
          </a:prstGeom>
        </p:spPr>
      </p:pic>
    </p:spTree>
    <p:extLst>
      <p:ext uri="{BB962C8B-B14F-4D97-AF65-F5344CB8AC3E}">
        <p14:creationId xmlns:p14="http://schemas.microsoft.com/office/powerpoint/2010/main" val="1651987256"/>
      </p:ext>
    </p:extLst>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How many of you have an automated home?</a:t>
            </a:r>
            <a:endParaRPr lang="en-US" dirty="0"/>
          </a:p>
        </p:txBody>
      </p:sp>
    </p:spTree>
    <p:extLst>
      <p:ext uri="{BB962C8B-B14F-4D97-AF65-F5344CB8AC3E}">
        <p14:creationId xmlns:p14="http://schemas.microsoft.com/office/powerpoint/2010/main" val="372544004"/>
      </p:ext>
    </p:extLst>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962297" y="2084364"/>
            <a:ext cx="2644453" cy="2689274"/>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Connectivity</a:t>
            </a:r>
          </a:p>
        </p:txBody>
      </p:sp>
      <p:grpSp>
        <p:nvGrpSpPr>
          <p:cNvPr id="5" name="Group 4"/>
          <p:cNvGrpSpPr/>
          <p:nvPr/>
        </p:nvGrpSpPr>
        <p:grpSpPr>
          <a:xfrm>
            <a:off x="4795842" y="3962744"/>
            <a:ext cx="609018" cy="606953"/>
            <a:chOff x="13581063" y="-434975"/>
            <a:chExt cx="3236912" cy="3236913"/>
          </a:xfrm>
          <a:solidFill>
            <a:schemeClr val="bg2"/>
          </a:solidFill>
        </p:grpSpPr>
        <p:sp>
          <p:nvSpPr>
            <p:cNvPr id="6"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14900333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strips(downLeft)">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mubaloo.com/perch/resources/alljoy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5935" y="1532572"/>
            <a:ext cx="5695950" cy="3609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691581"/>
      </p:ext>
    </p:extLst>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descr="http://www.wink.com/img/about/hero/app/1.667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4815" y="117631"/>
            <a:ext cx="4111625" cy="674037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SmartThings Ap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916" y="0"/>
            <a:ext cx="4462896" cy="925861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https://pbs.twimg.com/profile_images/459819104111562752/PeswBja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91812" y="2737722"/>
            <a:ext cx="1500188" cy="1500188"/>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Win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725" y="2628900"/>
            <a:ext cx="1500188" cy="1500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520031"/>
      </p:ext>
    </p:extLst>
  </p:cSld>
  <p:clrMapOvr>
    <a:masterClrMapping/>
  </p:clrMapOvr>
  <p:transition spd="slow">
    <p:pu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1189177"/>
            <a:ext cx="11653523" cy="3361849"/>
          </a:xfrm>
        </p:spPr>
        <p:txBody>
          <a:bodyPr/>
          <a:lstStyle/>
          <a:p>
            <a:r>
              <a:rPr lang="en-US" dirty="0" smtClean="0"/>
              <a:t>1 million secure publishers</a:t>
            </a:r>
          </a:p>
          <a:p>
            <a:r>
              <a:rPr lang="en-US" dirty="0" smtClean="0"/>
              <a:t>1 million events / second</a:t>
            </a:r>
          </a:p>
          <a:p>
            <a:r>
              <a:rPr lang="en-US" dirty="0"/>
              <a:t>Durable buffer</a:t>
            </a:r>
          </a:p>
          <a:p>
            <a:r>
              <a:rPr lang="en-US" dirty="0" smtClean="0"/>
              <a:t>Multiple Consumers</a:t>
            </a:r>
          </a:p>
          <a:p>
            <a:r>
              <a:rPr lang="en-US" dirty="0" smtClean="0"/>
              <a:t>Inexpensive</a:t>
            </a:r>
            <a:endParaRPr lang="en-US" dirty="0"/>
          </a:p>
        </p:txBody>
      </p:sp>
      <p:sp>
        <p:nvSpPr>
          <p:cNvPr id="2" name="Title 1"/>
          <p:cNvSpPr>
            <a:spLocks noGrp="1"/>
          </p:cNvSpPr>
          <p:nvPr>
            <p:ph type="title"/>
          </p:nvPr>
        </p:nvSpPr>
        <p:spPr/>
        <p:txBody>
          <a:bodyPr/>
          <a:lstStyle/>
          <a:p>
            <a:r>
              <a:rPr lang="en-US" dirty="0" smtClean="0"/>
              <a:t>Event Hubs</a:t>
            </a:r>
            <a:endParaRPr lang="en-US" dirty="0"/>
          </a:p>
        </p:txBody>
      </p:sp>
      <p:sp>
        <p:nvSpPr>
          <p:cNvPr id="4" name="Rectangle 3"/>
          <p:cNvSpPr/>
          <p:nvPr/>
        </p:nvSpPr>
        <p:spPr>
          <a:xfrm>
            <a:off x="4238379" y="4848996"/>
            <a:ext cx="3715248" cy="584775"/>
          </a:xfrm>
          <a:prstGeom prst="rect">
            <a:avLst/>
          </a:prstGeom>
        </p:spPr>
        <p:txBody>
          <a:bodyPr wrap="none">
            <a:spAutoFit/>
          </a:bodyPr>
          <a:lstStyle/>
          <a:p>
            <a:r>
              <a:rPr lang="en-US" sz="3200" dirty="0" smtClean="0"/>
              <a:t>This per Event Hub!</a:t>
            </a:r>
            <a:endParaRPr lang="en-US" sz="3200" dirty="0"/>
          </a:p>
        </p:txBody>
      </p:sp>
    </p:spTree>
    <p:extLst>
      <p:ext uri="{BB962C8B-B14F-4D97-AF65-F5344CB8AC3E}">
        <p14:creationId xmlns:p14="http://schemas.microsoft.com/office/powerpoint/2010/main" val="3008262410"/>
      </p:ext>
    </p:extLst>
  </p:cSld>
  <p:clrMapOvr>
    <a:masterClrMapping/>
  </p:clrMapOvr>
  <p:transition spd="slow">
    <p:push/>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nt Hubs Demo</a:t>
            </a:r>
            <a:endParaRPr lang="en-US" dirty="0"/>
          </a:p>
        </p:txBody>
      </p:sp>
      <p:sp>
        <p:nvSpPr>
          <p:cNvPr id="3" name="Rectangle 2"/>
          <p:cNvSpPr/>
          <p:nvPr/>
        </p:nvSpPr>
        <p:spPr bwMode="auto">
          <a:xfrm>
            <a:off x="3474500" y="2979420"/>
            <a:ext cx="18745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vent Hubs</a:t>
            </a:r>
          </a:p>
        </p:txBody>
      </p:sp>
      <p:sp>
        <p:nvSpPr>
          <p:cNvPr id="4" name="Rectangle 3"/>
          <p:cNvSpPr/>
          <p:nvPr/>
        </p:nvSpPr>
        <p:spPr bwMode="auto">
          <a:xfrm>
            <a:off x="6389980" y="2979420"/>
            <a:ext cx="20576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ream Analytics</a:t>
            </a:r>
          </a:p>
        </p:txBody>
      </p:sp>
      <p:sp>
        <p:nvSpPr>
          <p:cNvPr id="5" name="Rectangle 4"/>
          <p:cNvSpPr/>
          <p:nvPr/>
        </p:nvSpPr>
        <p:spPr bwMode="auto">
          <a:xfrm>
            <a:off x="9488560" y="2979420"/>
            <a:ext cx="199478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PowerBI</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ight Arrow 5"/>
          <p:cNvSpPr/>
          <p:nvPr/>
        </p:nvSpPr>
        <p:spPr bwMode="auto">
          <a:xfrm>
            <a:off x="563328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ight Arrow 6"/>
          <p:cNvSpPr/>
          <p:nvPr/>
        </p:nvSpPr>
        <p:spPr bwMode="auto">
          <a:xfrm>
            <a:off x="873186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58360" y="2979420"/>
            <a:ext cx="18745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evice</a:t>
            </a:r>
          </a:p>
        </p:txBody>
      </p:sp>
      <p:sp>
        <p:nvSpPr>
          <p:cNvPr id="9" name="Right Arrow 8"/>
          <p:cNvSpPr/>
          <p:nvPr/>
        </p:nvSpPr>
        <p:spPr bwMode="auto">
          <a:xfrm>
            <a:off x="271747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2311858"/>
      </p:ext>
    </p:extLst>
  </p:cSld>
  <p:clrMapOvr>
    <a:masterClrMapping/>
  </p:clrMapOvr>
  <p:transition spd="slow">
    <p:push/>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2190" y="1262333"/>
            <a:ext cx="11047619" cy="4333333"/>
          </a:xfrm>
          <a:prstGeom prst="rect">
            <a:avLst/>
          </a:prstGeom>
        </p:spPr>
      </p:pic>
    </p:spTree>
    <p:extLst>
      <p:ext uri="{BB962C8B-B14F-4D97-AF65-F5344CB8AC3E}">
        <p14:creationId xmlns:p14="http://schemas.microsoft.com/office/powerpoint/2010/main" val="3645178654"/>
      </p:ext>
    </p:extLst>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18387" y="1141429"/>
            <a:ext cx="5605616" cy="4619291"/>
          </a:xfrm>
          <a:prstGeom prst="rect">
            <a:avLst/>
          </a:prstGeom>
        </p:spPr>
      </p:pic>
      <p:pic>
        <p:nvPicPr>
          <p:cNvPr id="5" name="Picture 4"/>
          <p:cNvPicPr>
            <a:picLocks noChangeAspect="1"/>
          </p:cNvPicPr>
          <p:nvPr/>
        </p:nvPicPr>
        <p:blipFill>
          <a:blip r:embed="rId3"/>
          <a:stretch>
            <a:fillRect/>
          </a:stretch>
        </p:blipFill>
        <p:spPr>
          <a:xfrm>
            <a:off x="6239281" y="1141429"/>
            <a:ext cx="5605616" cy="4619291"/>
          </a:xfrm>
          <a:prstGeom prst="rect">
            <a:avLst/>
          </a:prstGeom>
        </p:spPr>
      </p:pic>
    </p:spTree>
    <p:extLst>
      <p:ext uri="{BB962C8B-B14F-4D97-AF65-F5344CB8AC3E}">
        <p14:creationId xmlns:p14="http://schemas.microsoft.com/office/powerpoint/2010/main" val="2346062570"/>
      </p:ext>
    </p:extLst>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55915" y="65129"/>
            <a:ext cx="10301771" cy="6792871"/>
          </a:xfrm>
          <a:prstGeom prst="rect">
            <a:avLst/>
          </a:prstGeom>
        </p:spPr>
      </p:pic>
    </p:spTree>
    <p:extLst>
      <p:ext uri="{BB962C8B-B14F-4D97-AF65-F5344CB8AC3E}">
        <p14:creationId xmlns:p14="http://schemas.microsoft.com/office/powerpoint/2010/main" val="2078021168"/>
      </p:ext>
    </p:extLst>
  </p:cSld>
  <p:clrMapOvr>
    <a:masterClrMapping/>
  </p:clrMapOvr>
  <p:transition spd="slow">
    <p:push/>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2190" y="1086143"/>
            <a:ext cx="11047619" cy="4685714"/>
          </a:xfrm>
          <a:prstGeom prst="rect">
            <a:avLst/>
          </a:prstGeom>
        </p:spPr>
      </p:pic>
    </p:spTree>
    <p:extLst>
      <p:ext uri="{BB962C8B-B14F-4D97-AF65-F5344CB8AC3E}">
        <p14:creationId xmlns:p14="http://schemas.microsoft.com/office/powerpoint/2010/main" val="3979930817"/>
      </p:ext>
    </p:extLst>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28348" y="994131"/>
            <a:ext cx="5778752" cy="4885967"/>
          </a:xfrm>
          <a:prstGeom prst="rect">
            <a:avLst/>
          </a:prstGeom>
        </p:spPr>
      </p:pic>
      <p:pic>
        <p:nvPicPr>
          <p:cNvPr id="3" name="Picture 2"/>
          <p:cNvPicPr>
            <a:picLocks noChangeAspect="1"/>
          </p:cNvPicPr>
          <p:nvPr/>
        </p:nvPicPr>
        <p:blipFill>
          <a:blip r:embed="rId3"/>
          <a:stretch>
            <a:fillRect/>
          </a:stretch>
        </p:blipFill>
        <p:spPr>
          <a:xfrm>
            <a:off x="6198024" y="994131"/>
            <a:ext cx="5778752" cy="4885967"/>
          </a:xfrm>
          <a:prstGeom prst="rect">
            <a:avLst/>
          </a:prstGeom>
        </p:spPr>
      </p:pic>
    </p:spTree>
    <p:extLst>
      <p:ext uri="{BB962C8B-B14F-4D97-AF65-F5344CB8AC3E}">
        <p14:creationId xmlns:p14="http://schemas.microsoft.com/office/powerpoint/2010/main" val="1198808191"/>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How many of you collect data from your car?</a:t>
            </a:r>
            <a:endParaRPr lang="en-US" dirty="0"/>
          </a:p>
        </p:txBody>
      </p:sp>
    </p:spTree>
    <p:extLst>
      <p:ext uri="{BB962C8B-B14F-4D97-AF65-F5344CB8AC3E}">
        <p14:creationId xmlns:p14="http://schemas.microsoft.com/office/powerpoint/2010/main" val="2107274982"/>
      </p:ext>
    </p:extLst>
  </p:cSld>
  <p:clrMapOvr>
    <a:masterClrMapping/>
  </p:clrMapOvr>
  <p:transition spd="slow">
    <p:push/>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1619" y="1193800"/>
            <a:ext cx="5852782" cy="4748483"/>
          </a:xfrm>
          <a:prstGeom prst="rect">
            <a:avLst/>
          </a:prstGeom>
        </p:spPr>
      </p:pic>
      <p:pic>
        <p:nvPicPr>
          <p:cNvPr id="3" name="Picture 2"/>
          <p:cNvPicPr>
            <a:picLocks noChangeAspect="1"/>
          </p:cNvPicPr>
          <p:nvPr/>
        </p:nvPicPr>
        <p:blipFill>
          <a:blip r:embed="rId3"/>
          <a:stretch>
            <a:fillRect/>
          </a:stretch>
        </p:blipFill>
        <p:spPr>
          <a:xfrm>
            <a:off x="6090685" y="1193800"/>
            <a:ext cx="5850048" cy="4746265"/>
          </a:xfrm>
          <a:prstGeom prst="rect">
            <a:avLst/>
          </a:prstGeom>
        </p:spPr>
      </p:pic>
      <p:sp>
        <p:nvSpPr>
          <p:cNvPr id="4" name="Rectangle 3"/>
          <p:cNvSpPr/>
          <p:nvPr/>
        </p:nvSpPr>
        <p:spPr bwMode="auto">
          <a:xfrm>
            <a:off x="883920" y="4983480"/>
            <a:ext cx="838200" cy="16764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5560939"/>
      </p:ext>
    </p:extLst>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643619" y="1790905"/>
            <a:ext cx="8904762" cy="3276190"/>
          </a:xfrm>
          <a:prstGeom prst="rect">
            <a:avLst/>
          </a:prstGeom>
        </p:spPr>
      </p:pic>
    </p:spTree>
    <p:extLst>
      <p:ext uri="{BB962C8B-B14F-4D97-AF65-F5344CB8AC3E}">
        <p14:creationId xmlns:p14="http://schemas.microsoft.com/office/powerpoint/2010/main" val="340966725"/>
      </p:ext>
    </p:extLst>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848381" y="562333"/>
            <a:ext cx="6495238" cy="5733333"/>
          </a:xfrm>
          <a:prstGeom prst="rect">
            <a:avLst/>
          </a:prstGeom>
        </p:spPr>
      </p:pic>
    </p:spTree>
    <p:extLst>
      <p:ext uri="{BB962C8B-B14F-4D97-AF65-F5344CB8AC3E}">
        <p14:creationId xmlns:p14="http://schemas.microsoft.com/office/powerpoint/2010/main" val="2508314200"/>
      </p:ext>
    </p:extLst>
  </p:cSld>
  <p:clrMapOvr>
    <a:masterClrMapping/>
  </p:clrMapOvr>
  <p:transition spd="slow">
    <p:push/>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174852" y="0"/>
            <a:ext cx="9467799" cy="6858663"/>
          </a:xfrm>
          <a:prstGeom prst="rect">
            <a:avLst/>
          </a:prstGeom>
        </p:spPr>
      </p:pic>
    </p:spTree>
    <p:extLst>
      <p:ext uri="{BB962C8B-B14F-4D97-AF65-F5344CB8AC3E}">
        <p14:creationId xmlns:p14="http://schemas.microsoft.com/office/powerpoint/2010/main" val="2756044566"/>
      </p:ext>
    </p:extLst>
  </p:cSld>
  <p:clrMapOvr>
    <a:masterClrMapping/>
  </p:clrMapOvr>
  <p:transition spd="slow">
    <p:push/>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31480"/>
            <a:ext cx="12192000" cy="6537835"/>
          </a:xfrm>
          <a:prstGeom prst="rect">
            <a:avLst/>
          </a:prstGeom>
        </p:spPr>
      </p:pic>
    </p:spTree>
    <p:extLst>
      <p:ext uri="{BB962C8B-B14F-4D97-AF65-F5344CB8AC3E}">
        <p14:creationId xmlns:p14="http://schemas.microsoft.com/office/powerpoint/2010/main" val="511332498"/>
      </p:ext>
    </p:extLst>
  </p:cSld>
  <p:clrMapOvr>
    <a:masterClrMapping/>
  </p:clrMapOvr>
  <p:transition spd="slow">
    <p:push/>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00100" y="0"/>
            <a:ext cx="10721340" cy="6840706"/>
          </a:xfrm>
          <a:prstGeom prst="rect">
            <a:avLst/>
          </a:prstGeom>
        </p:spPr>
      </p:pic>
    </p:spTree>
    <p:extLst>
      <p:ext uri="{BB962C8B-B14F-4D97-AF65-F5344CB8AC3E}">
        <p14:creationId xmlns:p14="http://schemas.microsoft.com/office/powerpoint/2010/main" val="2501210031"/>
      </p:ext>
    </p:extLst>
  </p:cSld>
  <p:clrMapOvr>
    <a:masterClrMapping/>
  </p:clrMapOvr>
  <p:transition spd="slow">
    <p:push/>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46691" y="2084364"/>
            <a:ext cx="2644453" cy="2689274"/>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Data</a:t>
            </a:r>
          </a:p>
        </p:txBody>
      </p:sp>
      <p:grpSp>
        <p:nvGrpSpPr>
          <p:cNvPr id="3" name="Group 2"/>
          <p:cNvGrpSpPr/>
          <p:nvPr/>
        </p:nvGrpSpPr>
        <p:grpSpPr>
          <a:xfrm>
            <a:off x="7370541" y="3892100"/>
            <a:ext cx="725691" cy="677599"/>
            <a:chOff x="-5364163" y="-2738437"/>
            <a:chExt cx="4327525" cy="4054475"/>
          </a:xfrm>
          <a:solidFill>
            <a:schemeClr val="bg2"/>
          </a:solidFill>
        </p:grpSpPr>
        <p:sp>
          <p:nvSpPr>
            <p:cNvPr id="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37038083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a:t>
            </a:r>
            <a:endParaRPr lang="en-US" dirty="0"/>
          </a:p>
        </p:txBody>
      </p:sp>
      <p:sp>
        <p:nvSpPr>
          <p:cNvPr id="3" name="Text Placeholder 2"/>
          <p:cNvSpPr>
            <a:spLocks noGrp="1"/>
          </p:cNvSpPr>
          <p:nvPr>
            <p:ph type="body" sz="quarter" idx="10"/>
          </p:nvPr>
        </p:nvSpPr>
        <p:spPr>
          <a:xfrm>
            <a:off x="269242" y="1189177"/>
            <a:ext cx="11653523" cy="2041488"/>
          </a:xfrm>
        </p:spPr>
        <p:txBody>
          <a:bodyPr/>
          <a:lstStyle/>
          <a:p>
            <a:r>
              <a:rPr lang="en-US" dirty="0" smtClean="0"/>
              <a:t>SQL Database</a:t>
            </a:r>
          </a:p>
          <a:p>
            <a:r>
              <a:rPr lang="en-US" dirty="0" smtClean="0"/>
              <a:t>Blob Storage</a:t>
            </a:r>
          </a:p>
          <a:p>
            <a:r>
              <a:rPr lang="en-US" dirty="0" smtClean="0"/>
              <a:t>Document DB</a:t>
            </a:r>
            <a:endParaRPr lang="en-US" dirty="0"/>
          </a:p>
        </p:txBody>
      </p:sp>
    </p:spTree>
    <p:extLst>
      <p:ext uri="{BB962C8B-B14F-4D97-AF65-F5344CB8AC3E}">
        <p14:creationId xmlns:p14="http://schemas.microsoft.com/office/powerpoint/2010/main" val="1922397458"/>
      </p:ext>
    </p:extLst>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37063" y="2084364"/>
            <a:ext cx="2644453" cy="268927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Analytics</a:t>
            </a:r>
          </a:p>
        </p:txBody>
      </p:sp>
      <p:grpSp>
        <p:nvGrpSpPr>
          <p:cNvPr id="3" name="Group 2"/>
          <p:cNvGrpSpPr/>
          <p:nvPr/>
        </p:nvGrpSpPr>
        <p:grpSpPr>
          <a:xfrm>
            <a:off x="9699391" y="3817977"/>
            <a:ext cx="998659" cy="749069"/>
            <a:chOff x="15319375" y="-157163"/>
            <a:chExt cx="2720976" cy="2047876"/>
          </a:xfrm>
          <a:solidFill>
            <a:schemeClr val="bg1"/>
          </a:solidFill>
        </p:grpSpPr>
        <p:sp>
          <p:nvSpPr>
            <p:cNvPr id="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14483806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7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125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upload.wikimedia.org/wikipedia/commons/thumb/0/06/DIKW_Pyramid.svg/494px-DIKW_Pyramid.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0624" y="419099"/>
            <a:ext cx="7445375" cy="5802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3406870"/>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2798363"/>
            <a:ext cx="11653523" cy="1261274"/>
          </a:xfrm>
        </p:spPr>
        <p:txBody>
          <a:bodyPr anchor="ctr"/>
          <a:lstStyle/>
          <a:p>
            <a:pPr marL="0" indent="0" algn="ctr">
              <a:buNone/>
            </a:pPr>
            <a:r>
              <a:rPr lang="en-US" dirty="0" smtClean="0"/>
              <a:t>Do manufacturers know how to collect and use the data they generate?</a:t>
            </a:r>
            <a:endParaRPr lang="en-US" dirty="0"/>
          </a:p>
        </p:txBody>
      </p:sp>
    </p:spTree>
    <p:extLst>
      <p:ext uri="{BB962C8B-B14F-4D97-AF65-F5344CB8AC3E}">
        <p14:creationId xmlns:p14="http://schemas.microsoft.com/office/powerpoint/2010/main" val="3849234274"/>
      </p:ext>
    </p:extLst>
  </p:cSld>
  <p:clrMapOvr>
    <a:masterClrMapping/>
  </p:clrMapOvr>
  <p:transition spd="slow">
    <p:push/>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5" y="289512"/>
            <a:ext cx="11655840" cy="899665"/>
          </a:xfrm>
        </p:spPr>
        <p:txBody>
          <a:bodyPr/>
          <a:lstStyle/>
          <a:p>
            <a:r>
              <a:rPr lang="en-US" dirty="0" smtClean="0"/>
              <a:t> Stream Analytics</a:t>
            </a:r>
            <a:endParaRPr lang="en-US" dirty="0"/>
          </a:p>
        </p:txBody>
      </p:sp>
      <p:sp>
        <p:nvSpPr>
          <p:cNvPr id="3" name="Text Placeholder 2"/>
          <p:cNvSpPr>
            <a:spLocks noGrp="1"/>
          </p:cNvSpPr>
          <p:nvPr>
            <p:ph type="body" sz="quarter" idx="10"/>
          </p:nvPr>
        </p:nvSpPr>
        <p:spPr>
          <a:xfrm>
            <a:off x="269242" y="1189177"/>
            <a:ext cx="11653523" cy="721126"/>
          </a:xfrm>
        </p:spPr>
        <p:txBody>
          <a:bodyPr/>
          <a:lstStyle/>
          <a:p>
            <a:r>
              <a:rPr lang="en-US" dirty="0" smtClean="0"/>
              <a:t>Select * from Source</a:t>
            </a:r>
            <a:endParaRPr lang="en-US" dirty="0"/>
          </a:p>
        </p:txBody>
      </p:sp>
      <p:pic>
        <p:nvPicPr>
          <p:cNvPr id="4" name="Picture 3"/>
          <p:cNvPicPr>
            <a:picLocks noChangeAspect="1"/>
          </p:cNvPicPr>
          <p:nvPr/>
        </p:nvPicPr>
        <p:blipFill>
          <a:blip r:embed="rId3"/>
          <a:stretch>
            <a:fillRect/>
          </a:stretch>
        </p:blipFill>
        <p:spPr>
          <a:xfrm>
            <a:off x="1918335" y="1910303"/>
            <a:ext cx="8999883" cy="4947697"/>
          </a:xfrm>
          <a:prstGeom prst="rect">
            <a:avLst/>
          </a:prstGeom>
        </p:spPr>
      </p:pic>
    </p:spTree>
    <p:extLst>
      <p:ext uri="{BB962C8B-B14F-4D97-AF65-F5344CB8AC3E}">
        <p14:creationId xmlns:p14="http://schemas.microsoft.com/office/powerpoint/2010/main" val="3761946263"/>
      </p:ext>
    </p:extLst>
  </p:cSld>
  <p:clrMapOvr>
    <a:masterClrMapping/>
  </p:clrMapOvr>
  <p:transition spd="slow">
    <p:push/>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0"/>
            <a:r>
              <a:rPr lang="en-US" i="1" dirty="0"/>
              <a:t>Preventative</a:t>
            </a:r>
            <a:r>
              <a:rPr lang="en-US" dirty="0"/>
              <a:t> maintenance is largely ineffective</a:t>
            </a:r>
          </a:p>
          <a:p>
            <a:pPr lvl="0"/>
            <a:r>
              <a:rPr lang="en-US" dirty="0"/>
              <a:t>Age is </a:t>
            </a:r>
            <a:r>
              <a:rPr lang="en-US" b="1" dirty="0"/>
              <a:t>not</a:t>
            </a:r>
            <a:r>
              <a:rPr lang="en-US" dirty="0"/>
              <a:t> a good indicator of failure</a:t>
            </a:r>
          </a:p>
          <a:p>
            <a:endParaRPr lang="en-US" dirty="0"/>
          </a:p>
        </p:txBody>
      </p:sp>
      <p:sp>
        <p:nvSpPr>
          <p:cNvPr id="3" name="Title 2"/>
          <p:cNvSpPr>
            <a:spLocks noGrp="1"/>
          </p:cNvSpPr>
          <p:nvPr>
            <p:ph type="title"/>
          </p:nvPr>
        </p:nvSpPr>
        <p:spPr/>
        <p:txBody>
          <a:bodyPr/>
          <a:lstStyle/>
          <a:p>
            <a:r>
              <a:rPr lang="en-US" dirty="0" smtClean="0"/>
              <a:t>Machine Learning</a:t>
            </a:r>
            <a:br>
              <a:rPr lang="en-US" dirty="0" smtClean="0"/>
            </a:br>
            <a:endParaRPr lang="en-US" dirty="0"/>
          </a:p>
        </p:txBody>
      </p:sp>
      <p:sp>
        <p:nvSpPr>
          <p:cNvPr id="4" name="Rectangle 3"/>
          <p:cNvSpPr/>
          <p:nvPr/>
        </p:nvSpPr>
        <p:spPr>
          <a:xfrm>
            <a:off x="2495550" y="6386245"/>
            <a:ext cx="9696450" cy="369332"/>
          </a:xfrm>
          <a:prstGeom prst="rect">
            <a:avLst/>
          </a:prstGeom>
        </p:spPr>
        <p:txBody>
          <a:bodyPr wrap="square">
            <a:spAutoFit/>
          </a:bodyPr>
          <a:lstStyle/>
          <a:p>
            <a:r>
              <a:rPr lang="en-US" dirty="0">
                <a:hlinkClick r:id="rId3"/>
              </a:rPr>
              <a:t>http://www.arcweb.com/Blog/Post/260/Proactive-Asset-Management-with-IIoT-and-Analytics</a:t>
            </a:r>
            <a:endParaRPr lang="en-US" dirty="0"/>
          </a:p>
        </p:txBody>
      </p:sp>
    </p:spTree>
    <p:extLst>
      <p:ext uri="{BB962C8B-B14F-4D97-AF65-F5344CB8AC3E}">
        <p14:creationId xmlns:p14="http://schemas.microsoft.com/office/powerpoint/2010/main" val="339568986"/>
      </p:ext>
    </p:extLst>
  </p:cSld>
  <p:clrMapOvr>
    <a:masterClrMapping/>
  </p:clrMapOvr>
  <p:transition spd="slow">
    <p:push/>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PowerBI</a:t>
            </a:r>
            <a:r>
              <a:rPr lang="en-US" dirty="0" smtClean="0"/>
              <a:t/>
            </a:r>
            <a:br>
              <a:rPr lang="en-US" dirty="0" smtClean="0"/>
            </a:br>
            <a:endParaRPr lang="en-US" dirty="0"/>
          </a:p>
        </p:txBody>
      </p:sp>
      <p:pic>
        <p:nvPicPr>
          <p:cNvPr id="4098"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097" y="1270587"/>
            <a:ext cx="8874125" cy="5587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214993"/>
      </p:ext>
    </p:extLst>
  </p:cSld>
  <p:clrMapOvr>
    <a:masterClrMapping/>
  </p:clrMapOvr>
  <p:transition spd="slow">
    <p:push/>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54544" y="0"/>
            <a:ext cx="12746544" cy="6858000"/>
          </a:xfrm>
          <a:prstGeom prst="rect">
            <a:avLst/>
          </a:prstGeom>
        </p:spPr>
      </p:pic>
    </p:spTree>
    <p:extLst>
      <p:ext uri="{BB962C8B-B14F-4D97-AF65-F5344CB8AC3E}">
        <p14:creationId xmlns:p14="http://schemas.microsoft.com/office/powerpoint/2010/main" val="4210410170"/>
      </p:ext>
    </p:extLst>
  </p:cSld>
  <p:clrMapOvr>
    <a:masterClrMapping/>
  </p:clrMapOvr>
  <p:transition spd="slow">
    <p:push/>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Arrow Connector 103"/>
          <p:cNvCxnSpPr/>
          <p:nvPr/>
        </p:nvCxnSpPr>
        <p:spPr>
          <a:xfrm flipV="1">
            <a:off x="2162713" y="2933492"/>
            <a:ext cx="1829684" cy="743"/>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107" name="Oval 106"/>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08" name="Oval 107"/>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09" name="Rectangle 108"/>
          <p:cNvSpPr/>
          <p:nvPr/>
        </p:nvSpPr>
        <p:spPr>
          <a:xfrm>
            <a:off x="4045824" y="2209221"/>
            <a:ext cx="5344272" cy="2957510"/>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896386">
              <a:defRPr/>
            </a:pPr>
            <a:endParaRPr lang="en-US" sz="1078" kern="0" dirty="0">
              <a:solidFill>
                <a:prstClr val="black"/>
              </a:solidFill>
              <a:cs typeface="Arial" panose="020B0604020202020204" pitchFamily="34" charset="0"/>
            </a:endParaRPr>
          </a:p>
        </p:txBody>
      </p:sp>
      <p:sp>
        <p:nvSpPr>
          <p:cNvPr id="110" name="Rectangle 109"/>
          <p:cNvSpPr/>
          <p:nvPr/>
        </p:nvSpPr>
        <p:spPr>
          <a:xfrm>
            <a:off x="7128324" y="2358512"/>
            <a:ext cx="2016936" cy="38709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Device Management Portal</a:t>
            </a:r>
          </a:p>
        </p:txBody>
      </p:sp>
      <p:sp>
        <p:nvSpPr>
          <p:cNvPr id="111" name="Rectangle 110"/>
          <p:cNvSpPr/>
          <p:nvPr/>
        </p:nvSpPr>
        <p:spPr>
          <a:xfrm>
            <a:off x="5213235" y="2358512"/>
            <a:ext cx="1853970" cy="38709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Provisioning API</a:t>
            </a:r>
          </a:p>
        </p:txBody>
      </p:sp>
      <p:sp>
        <p:nvSpPr>
          <p:cNvPr id="112" name="Rectangle 111"/>
          <p:cNvSpPr/>
          <p:nvPr/>
        </p:nvSpPr>
        <p:spPr>
          <a:xfrm>
            <a:off x="5213236" y="2989578"/>
            <a:ext cx="3015227" cy="290319"/>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140200" y="2745605"/>
            <a:ext cx="20" cy="243973"/>
          </a:xfrm>
          <a:prstGeom prst="straightConnector1">
            <a:avLst/>
          </a:prstGeom>
          <a:noFill/>
          <a:ln w="19050" cap="flat" cmpd="sng" algn="ctr">
            <a:solidFill>
              <a:srgbClr val="5A80CB"/>
            </a:solidFill>
            <a:prstDash val="solid"/>
            <a:miter lim="800000"/>
            <a:tailEnd type="triangle"/>
          </a:ln>
          <a:effectLst/>
        </p:spPr>
      </p:cxnSp>
      <p:cxnSp>
        <p:nvCxnSpPr>
          <p:cNvPr id="114" name="Straight Arrow Connector 113"/>
          <p:cNvCxnSpPr/>
          <p:nvPr/>
        </p:nvCxnSpPr>
        <p:spPr>
          <a:xfrm flipH="1">
            <a:off x="7724223" y="2731118"/>
            <a:ext cx="20" cy="243973"/>
          </a:xfrm>
          <a:prstGeom prst="straightConnector1">
            <a:avLst/>
          </a:prstGeom>
          <a:noFill/>
          <a:ln w="19050" cap="flat" cmpd="sng" algn="ctr">
            <a:solidFill>
              <a:srgbClr val="5A80CB"/>
            </a:solidFill>
            <a:prstDash val="solid"/>
            <a:miter lim="800000"/>
            <a:tailEnd type="triangle"/>
          </a:ln>
          <a:effectLst/>
        </p:spPr>
      </p:cxnSp>
      <p:cxnSp>
        <p:nvCxnSpPr>
          <p:cNvPr id="115" name="Straight Arrow Connector 114"/>
          <p:cNvCxnSpPr/>
          <p:nvPr/>
        </p:nvCxnSpPr>
        <p:spPr>
          <a:xfrm flipH="1">
            <a:off x="8651208" y="2745605"/>
            <a:ext cx="20" cy="243973"/>
          </a:xfrm>
          <a:prstGeom prst="straightConnector1">
            <a:avLst/>
          </a:prstGeom>
          <a:noFill/>
          <a:ln w="19050" cap="flat" cmpd="sng" algn="ctr">
            <a:solidFill>
              <a:srgbClr val="5A80CB"/>
            </a:solidFill>
            <a:prstDash val="solid"/>
            <a:miter lim="800000"/>
            <a:tailEnd type="triangle"/>
          </a:ln>
          <a:effectLst/>
        </p:spPr>
      </p:cxnSp>
      <p:sp>
        <p:nvSpPr>
          <p:cNvPr id="128" name="Oval 127"/>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29" name="Rectangle 128"/>
          <p:cNvSpPr/>
          <p:nvPr/>
        </p:nvSpPr>
        <p:spPr>
          <a:xfrm>
            <a:off x="5213234" y="3792913"/>
            <a:ext cx="3932025" cy="36542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defRPr/>
            </a:pPr>
            <a:r>
              <a:rPr lang="en-US" sz="1078" kern="0" dirty="0" smtClean="0">
                <a:solidFill>
                  <a:prstClr val="white"/>
                </a:solidFill>
                <a:cs typeface="Arial" panose="020B0604020202020204" pitchFamily="34" charset="0"/>
              </a:rPr>
              <a:t>Stream Event Processor</a:t>
            </a:r>
            <a:endParaRPr lang="en-US" sz="1078" kern="0" dirty="0">
              <a:solidFill>
                <a:prstClr val="white"/>
              </a:solidFill>
              <a:cs typeface="Arial" panose="020B0604020202020204" pitchFamily="34" charset="0"/>
            </a:endParaRPr>
          </a:p>
        </p:txBody>
      </p:sp>
      <p:sp>
        <p:nvSpPr>
          <p:cNvPr id="132" name="Rectangle 131"/>
          <p:cNvSpPr/>
          <p:nvPr/>
        </p:nvSpPr>
        <p:spPr>
          <a:xfrm>
            <a:off x="8257079" y="4304407"/>
            <a:ext cx="841872" cy="7618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nalytics/ Machine Learning</a:t>
            </a:r>
          </a:p>
        </p:txBody>
      </p:sp>
      <p:cxnSp>
        <p:nvCxnSpPr>
          <p:cNvPr id="135" name="Straight Arrow Connector 134"/>
          <p:cNvCxnSpPr>
            <a:endCxn id="129" idx="1"/>
          </p:cNvCxnSpPr>
          <p:nvPr/>
        </p:nvCxnSpPr>
        <p:spPr>
          <a:xfrm>
            <a:off x="4663475" y="3975624"/>
            <a:ext cx="549759" cy="0"/>
          </a:xfrm>
          <a:prstGeom prst="straightConnector1">
            <a:avLst/>
          </a:prstGeom>
          <a:noFill/>
          <a:ln w="19050" cap="flat" cmpd="sng" algn="ctr">
            <a:solidFill>
              <a:srgbClr val="4472C4"/>
            </a:solidFill>
            <a:prstDash val="solid"/>
            <a:miter lim="800000"/>
            <a:tailEnd type="triangle"/>
          </a:ln>
          <a:effectLst/>
        </p:spPr>
      </p:cxnSp>
      <p:sp>
        <p:nvSpPr>
          <p:cNvPr id="140" name="Rectangle 139"/>
          <p:cNvSpPr/>
          <p:nvPr/>
        </p:nvSpPr>
        <p:spPr>
          <a:xfrm>
            <a:off x="9895530" y="2209221"/>
            <a:ext cx="1422503" cy="2957510"/>
          </a:xfrm>
          <a:prstGeom prst="rect">
            <a:avLst/>
          </a:prstGeom>
          <a:solidFill>
            <a:srgbClr val="5A80CB"/>
          </a:solidFill>
          <a:ln w="12700" cap="flat" cmpd="sng" algn="ctr">
            <a:noFill/>
            <a:prstDash val="solid"/>
            <a:miter lim="800000"/>
          </a:ln>
          <a:effectLst/>
        </p:spPr>
        <p:txBody>
          <a:bodyPr rtlCol="0" anchor="ctr"/>
          <a:lstStyle/>
          <a:p>
            <a:pPr algn="ctr" defTabSz="896386">
              <a:defRPr/>
            </a:pPr>
            <a:r>
              <a:rPr lang="en-US" sz="1078" kern="0" dirty="0" smtClean="0">
                <a:solidFill>
                  <a:schemeClr val="bg1"/>
                </a:solidFill>
                <a:cs typeface="Arial" panose="020B0604020202020204" pitchFamily="34" charset="0"/>
              </a:rPr>
              <a:t>Data Visualization &amp; Presentation</a:t>
            </a:r>
            <a:endParaRPr lang="en-US" sz="1078" kern="0" dirty="0">
              <a:solidFill>
                <a:schemeClr val="bg1"/>
              </a:solidFill>
              <a:cs typeface="Arial" panose="020B0604020202020204" pitchFamily="34" charset="0"/>
            </a:endParaRPr>
          </a:p>
        </p:txBody>
      </p:sp>
      <p:sp>
        <p:nvSpPr>
          <p:cNvPr id="149" name="L-Shape 148"/>
          <p:cNvSpPr/>
          <p:nvPr/>
        </p:nvSpPr>
        <p:spPr>
          <a:xfrm flipH="1">
            <a:off x="5213235" y="2989577"/>
            <a:ext cx="3932025" cy="598413"/>
          </a:xfrm>
          <a:prstGeom prst="corner">
            <a:avLst>
              <a:gd name="adj1" fmla="val 46089"/>
              <a:gd name="adj2" fmla="val 146666"/>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Device State Store (last known state)</a:t>
            </a:r>
          </a:p>
        </p:txBody>
      </p:sp>
      <p:sp>
        <p:nvSpPr>
          <p:cNvPr id="121" name="Rectangle 120"/>
          <p:cNvSpPr/>
          <p:nvPr/>
        </p:nvSpPr>
        <p:spPr>
          <a:xfrm>
            <a:off x="2526983" y="4205387"/>
            <a:ext cx="1101145" cy="892552"/>
          </a:xfrm>
          <a:prstGeom prst="rect">
            <a:avLst/>
          </a:prstGeom>
          <a:noFill/>
          <a:ln w="12700" cap="flat" cmpd="sng" algn="ctr">
            <a:solidFill>
              <a:sysClr val="windowText" lastClr="000000"/>
            </a:solidFill>
            <a:prstDash val="dash"/>
            <a:miter lim="800000"/>
          </a:ln>
          <a:effectLst/>
        </p:spPr>
        <p:txBody>
          <a:bodyPr rtlCol="0" anchor="ctr"/>
          <a:lstStyle/>
          <a:p>
            <a:pPr algn="ctr" defTabSz="896386">
              <a:defRPr/>
            </a:pPr>
            <a:r>
              <a:rPr lang="en-US" sz="1078" kern="0" dirty="0" smtClean="0">
                <a:solidFill>
                  <a:prstClr val="black"/>
                </a:solidFill>
                <a:cs typeface="Arial" panose="020B0604020202020204" pitchFamily="34" charset="0"/>
              </a:rPr>
              <a:t>Field</a:t>
            </a:r>
          </a:p>
          <a:p>
            <a:pPr algn="ctr" defTabSz="896386">
              <a:defRPr/>
            </a:pPr>
            <a:r>
              <a:rPr lang="en-US" sz="1078" kern="0" dirty="0" smtClean="0">
                <a:solidFill>
                  <a:prstClr val="black"/>
                </a:solidFill>
                <a:cs typeface="Arial" panose="020B0604020202020204" pitchFamily="34" charset="0"/>
              </a:rPr>
              <a:t>Gateway</a:t>
            </a:r>
            <a:endParaRPr lang="en-US" sz="1078" kern="0" dirty="0">
              <a:solidFill>
                <a:prstClr val="black"/>
              </a:solidFill>
              <a:cs typeface="Arial" panose="020B0604020202020204" pitchFamily="34" charset="0"/>
            </a:endParaRPr>
          </a:p>
        </p:txBody>
      </p:sp>
      <p:sp>
        <p:nvSpPr>
          <p:cNvPr id="76" name="Title 1"/>
          <p:cNvSpPr>
            <a:spLocks noGrp="1"/>
          </p:cNvSpPr>
          <p:nvPr>
            <p:ph type="title"/>
          </p:nvPr>
        </p:nvSpPr>
        <p:spPr>
          <a:xfrm>
            <a:off x="457201" y="252621"/>
            <a:ext cx="10971867" cy="661720"/>
          </a:xfrm>
        </p:spPr>
        <p:txBody>
          <a:bodyPr>
            <a:normAutofit fontScale="90000"/>
          </a:bodyPr>
          <a:lstStyle/>
          <a:p>
            <a:r>
              <a:rPr lang="en-US" sz="4800" dirty="0" smtClean="0">
                <a:solidFill>
                  <a:schemeClr val="accent6"/>
                </a:solidFill>
              </a:rPr>
              <a:t>Azure IoT services Reference Architecture</a:t>
            </a:r>
            <a:endParaRPr lang="en-US" sz="4800" dirty="0">
              <a:solidFill>
                <a:schemeClr val="accent6"/>
              </a:solidFill>
            </a:endParaRPr>
          </a:p>
        </p:txBody>
      </p:sp>
      <p:sp>
        <p:nvSpPr>
          <p:cNvPr id="39" name="Rectangle 38"/>
          <p:cNvSpPr/>
          <p:nvPr/>
        </p:nvSpPr>
        <p:spPr>
          <a:xfrm>
            <a:off x="5213234" y="4304407"/>
            <a:ext cx="841872" cy="7618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Storage</a:t>
            </a:r>
          </a:p>
        </p:txBody>
      </p:sp>
      <p:cxnSp>
        <p:nvCxnSpPr>
          <p:cNvPr id="7" name="Straight Arrow Connector 6"/>
          <p:cNvCxnSpPr/>
          <p:nvPr/>
        </p:nvCxnSpPr>
        <p:spPr>
          <a:xfrm flipH="1">
            <a:off x="6055106" y="4732981"/>
            <a:ext cx="2201973" cy="0"/>
          </a:xfrm>
          <a:prstGeom prst="straightConnector1">
            <a:avLst/>
          </a:prstGeom>
          <a:ln w="19050">
            <a:solidFill>
              <a:srgbClr val="4071C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651208" y="3587990"/>
            <a:ext cx="0" cy="296721"/>
          </a:xfrm>
          <a:prstGeom prst="straightConnector1">
            <a:avLst/>
          </a:prstGeom>
          <a:noFill/>
          <a:ln w="19050" cap="flat" cmpd="sng" algn="ctr">
            <a:solidFill>
              <a:srgbClr val="5A80CB"/>
            </a:solidFill>
            <a:prstDash val="solid"/>
            <a:miter lim="800000"/>
            <a:tailEnd type="triangle"/>
          </a:ln>
          <a:effectLst/>
        </p:spPr>
      </p:cxnSp>
      <p:sp>
        <p:nvSpPr>
          <p:cNvPr id="57" name="TextBox 56"/>
          <p:cNvSpPr txBox="1"/>
          <p:nvPr/>
        </p:nvSpPr>
        <p:spPr>
          <a:xfrm>
            <a:off x="765533" y="2420742"/>
            <a:ext cx="1346546" cy="948463"/>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IP capable </a:t>
            </a:r>
            <a:r>
              <a:rPr lang="en-US" dirty="0" smtClean="0"/>
              <a:t>devices</a:t>
            </a:r>
            <a:endParaRPr lang="en-US" dirty="0"/>
          </a:p>
        </p:txBody>
      </p:sp>
      <p:sp>
        <p:nvSpPr>
          <p:cNvPr id="59" name="TextBox 58"/>
          <p:cNvSpPr txBox="1"/>
          <p:nvPr/>
        </p:nvSpPr>
        <p:spPr>
          <a:xfrm>
            <a:off x="765533" y="3696126"/>
            <a:ext cx="1346546" cy="871426"/>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Legacy IOT devices</a:t>
            </a:r>
          </a:p>
          <a:p>
            <a:endParaRPr lang="en-US" dirty="0"/>
          </a:p>
        </p:txBody>
      </p:sp>
      <p:sp>
        <p:nvSpPr>
          <p:cNvPr id="60" name="TextBox 59"/>
          <p:cNvSpPr txBox="1"/>
          <p:nvPr/>
        </p:nvSpPr>
        <p:spPr>
          <a:xfrm>
            <a:off x="765533" y="4894473"/>
            <a:ext cx="1346546" cy="782118"/>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Low power devices </a:t>
            </a:r>
          </a:p>
        </p:txBody>
      </p:sp>
      <p:sp>
        <p:nvSpPr>
          <p:cNvPr id="61" name="Rectangle 60"/>
          <p:cNvSpPr/>
          <p:nvPr/>
        </p:nvSpPr>
        <p:spPr bwMode="auto">
          <a:xfrm>
            <a:off x="9901218"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gradFill>
                  <a:gsLst>
                    <a:gs pos="0">
                      <a:srgbClr val="FFFFFF"/>
                    </a:gs>
                    <a:gs pos="100000">
                      <a:srgbClr val="FFFFFF"/>
                    </a:gs>
                  </a:gsLst>
                  <a:lin ang="5400000" scaled="0"/>
                </a:gradFill>
              </a:rPr>
              <a:t>Presentation </a:t>
            </a:r>
          </a:p>
        </p:txBody>
      </p:sp>
      <p:sp>
        <p:nvSpPr>
          <p:cNvPr id="62" name="Rectangle 61"/>
          <p:cNvSpPr/>
          <p:nvPr/>
        </p:nvSpPr>
        <p:spPr bwMode="auto">
          <a:xfrm>
            <a:off x="4051083" y="1255841"/>
            <a:ext cx="5344272" cy="578852"/>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chemeClr val="bg1"/>
                </a:solidFill>
              </a:rPr>
              <a:t>Device and Event Processing</a:t>
            </a:r>
          </a:p>
        </p:txBody>
      </p:sp>
      <p:sp>
        <p:nvSpPr>
          <p:cNvPr id="64" name="Rectangle 63"/>
          <p:cNvSpPr/>
          <p:nvPr/>
        </p:nvSpPr>
        <p:spPr bwMode="auto">
          <a:xfrm>
            <a:off x="2371777"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rgbClr val="FFFFFF"/>
                </a:solidFill>
              </a:rPr>
              <a:t>Data Transport</a:t>
            </a:r>
          </a:p>
        </p:txBody>
      </p:sp>
      <p:sp>
        <p:nvSpPr>
          <p:cNvPr id="65" name="Rectangle 64"/>
          <p:cNvSpPr/>
          <p:nvPr/>
        </p:nvSpPr>
        <p:spPr bwMode="auto">
          <a:xfrm>
            <a:off x="733028"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rgbClr val="FFFFFF"/>
                </a:solidFill>
              </a:rPr>
              <a:t>Devices and Data Sources</a:t>
            </a:r>
          </a:p>
        </p:txBody>
      </p:sp>
      <p:cxnSp>
        <p:nvCxnSpPr>
          <p:cNvPr id="25" name="Elbow Connector 24"/>
          <p:cNvCxnSpPr>
            <a:stCxn id="129" idx="2"/>
          </p:cNvCxnSpPr>
          <p:nvPr/>
        </p:nvCxnSpPr>
        <p:spPr>
          <a:xfrm rot="5400000">
            <a:off x="6417712" y="3795730"/>
            <a:ext cx="398931" cy="1124141"/>
          </a:xfrm>
          <a:prstGeom prst="bentConnector2">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438788" y="4085698"/>
            <a:ext cx="439546" cy="1486"/>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72" name="Freeform 71"/>
          <p:cNvSpPr/>
          <p:nvPr/>
        </p:nvSpPr>
        <p:spPr bwMode="auto">
          <a:xfrm>
            <a:off x="1" y="6139310"/>
            <a:ext cx="12191999" cy="751294"/>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7" tIns="143310" rIns="179137" bIns="143310" numCol="1" spcCol="0" rtlCol="0" fromWordArt="0" anchor="t" anchorCtr="0" forceAA="0" compatLnSpc="1">
            <a:prstTxWarp prst="textNoShape">
              <a:avLst/>
            </a:prstTxWarp>
            <a:noAutofit/>
          </a:bodyPr>
          <a:lstStyle/>
          <a:p>
            <a:pPr algn="ctr" defTabSz="91329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11087006" y="5838784"/>
            <a:ext cx="989349" cy="912399"/>
            <a:chOff x="2952434" y="-395679"/>
            <a:chExt cx="1665341" cy="1535810"/>
          </a:xfrm>
        </p:grpSpPr>
        <p:sp>
          <p:nvSpPr>
            <p:cNvPr id="74" name="Teardrop 9"/>
            <p:cNvSpPr>
              <a:spLocks noChangeAspect="1"/>
            </p:cNvSpPr>
            <p:nvPr/>
          </p:nvSpPr>
          <p:spPr>
            <a:xfrm rot="19062968">
              <a:off x="2952434" y="-77135"/>
              <a:ext cx="863221" cy="91440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75" name="Teardrop 9"/>
            <p:cNvSpPr>
              <a:spLocks noChangeAspect="1"/>
            </p:cNvSpPr>
            <p:nvPr/>
          </p:nvSpPr>
          <p:spPr>
            <a:xfrm rot="19062968">
              <a:off x="3495588" y="-395679"/>
              <a:ext cx="1122187" cy="118872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77" name="Freeform 76"/>
            <p:cNvSpPr/>
            <p:nvPr/>
          </p:nvSpPr>
          <p:spPr>
            <a:xfrm>
              <a:off x="3830990" y="-194517"/>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sp>
          <p:nvSpPr>
            <p:cNvPr id="78" name="Freeform 77"/>
            <p:cNvSpPr/>
            <p:nvPr/>
          </p:nvSpPr>
          <p:spPr>
            <a:xfrm>
              <a:off x="3120055" y="-189384"/>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grpSp>
      <p:grpSp>
        <p:nvGrpSpPr>
          <p:cNvPr id="79" name="Group 78"/>
          <p:cNvGrpSpPr/>
          <p:nvPr/>
        </p:nvGrpSpPr>
        <p:grpSpPr>
          <a:xfrm>
            <a:off x="9976292" y="5608873"/>
            <a:ext cx="989349" cy="912399"/>
            <a:chOff x="2952434" y="-395679"/>
            <a:chExt cx="1665341" cy="1535810"/>
          </a:xfrm>
        </p:grpSpPr>
        <p:sp>
          <p:nvSpPr>
            <p:cNvPr id="80" name="Teardrop 9"/>
            <p:cNvSpPr>
              <a:spLocks noChangeAspect="1"/>
            </p:cNvSpPr>
            <p:nvPr/>
          </p:nvSpPr>
          <p:spPr>
            <a:xfrm rot="19062968">
              <a:off x="2952434" y="-77135"/>
              <a:ext cx="863221" cy="91440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81" name="Teardrop 9"/>
            <p:cNvSpPr>
              <a:spLocks noChangeAspect="1"/>
            </p:cNvSpPr>
            <p:nvPr/>
          </p:nvSpPr>
          <p:spPr>
            <a:xfrm rot="19062968">
              <a:off x="3495588" y="-395679"/>
              <a:ext cx="1122187" cy="118872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82" name="Freeform 81"/>
            <p:cNvSpPr/>
            <p:nvPr/>
          </p:nvSpPr>
          <p:spPr>
            <a:xfrm>
              <a:off x="3830990" y="-194517"/>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sp>
          <p:nvSpPr>
            <p:cNvPr id="83" name="Freeform 82"/>
            <p:cNvSpPr/>
            <p:nvPr/>
          </p:nvSpPr>
          <p:spPr>
            <a:xfrm>
              <a:off x="3120055" y="-189384"/>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grpSp>
      <p:grpSp>
        <p:nvGrpSpPr>
          <p:cNvPr id="84" name="Group 83"/>
          <p:cNvGrpSpPr/>
          <p:nvPr/>
        </p:nvGrpSpPr>
        <p:grpSpPr>
          <a:xfrm>
            <a:off x="194537" y="5894169"/>
            <a:ext cx="606737" cy="924699"/>
            <a:chOff x="-47949" y="5045744"/>
            <a:chExt cx="1158616" cy="1765793"/>
          </a:xfrm>
        </p:grpSpPr>
        <p:sp>
          <p:nvSpPr>
            <p:cNvPr id="85" name="Freeform 14"/>
            <p:cNvSpPr>
              <a:spLocks/>
            </p:cNvSpPr>
            <p:nvPr/>
          </p:nvSpPr>
          <p:spPr bwMode="auto">
            <a:xfrm>
              <a:off x="500421" y="5411251"/>
              <a:ext cx="70533" cy="1400286"/>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158"/>
              <a:endParaRPr lang="en-US" sz="1765">
                <a:solidFill>
                  <a:srgbClr val="000000"/>
                </a:solidFill>
              </a:endParaRPr>
            </a:p>
          </p:txBody>
        </p:sp>
        <p:sp>
          <p:nvSpPr>
            <p:cNvPr id="86" name="Freeform 6"/>
            <p:cNvSpPr>
              <a:spLocks noChangeAspect="1"/>
            </p:cNvSpPr>
            <p:nvPr/>
          </p:nvSpPr>
          <p:spPr bwMode="auto">
            <a:xfrm>
              <a:off x="516150" y="5160704"/>
              <a:ext cx="464195" cy="466529"/>
            </a:xfrm>
            <a:custGeom>
              <a:avLst/>
              <a:gdLst/>
              <a:ahLst/>
              <a:cxnLst/>
              <a:rect l="l" t="t" r="r" b="b"/>
              <a:pathLst>
                <a:path w="4103688" h="4124325">
                  <a:moveTo>
                    <a:pt x="1979185" y="968375"/>
                  </a:moveTo>
                  <a:lnTo>
                    <a:pt x="1835464" y="988219"/>
                  </a:lnTo>
                  <a:lnTo>
                    <a:pt x="1781469" y="1003300"/>
                  </a:lnTo>
                  <a:lnTo>
                    <a:pt x="1727474" y="1019969"/>
                  </a:lnTo>
                  <a:lnTo>
                    <a:pt x="1675067" y="1037431"/>
                  </a:lnTo>
                  <a:lnTo>
                    <a:pt x="1623454" y="1057275"/>
                  </a:lnTo>
                  <a:lnTo>
                    <a:pt x="1551991" y="1092200"/>
                  </a:lnTo>
                  <a:lnTo>
                    <a:pt x="1484497" y="1131888"/>
                  </a:lnTo>
                  <a:lnTo>
                    <a:pt x="1420974" y="1176338"/>
                  </a:lnTo>
                  <a:lnTo>
                    <a:pt x="1360626" y="1226344"/>
                  </a:lnTo>
                  <a:lnTo>
                    <a:pt x="1304249" y="1278731"/>
                  </a:lnTo>
                  <a:lnTo>
                    <a:pt x="1251843" y="1335881"/>
                  </a:lnTo>
                  <a:lnTo>
                    <a:pt x="1204200" y="1397000"/>
                  </a:lnTo>
                  <a:lnTo>
                    <a:pt x="1158940" y="1462088"/>
                  </a:lnTo>
                  <a:lnTo>
                    <a:pt x="1119238" y="1531144"/>
                  </a:lnTo>
                  <a:lnTo>
                    <a:pt x="1081123" y="1600994"/>
                  </a:lnTo>
                  <a:lnTo>
                    <a:pt x="1048568" y="1674813"/>
                  </a:lnTo>
                  <a:lnTo>
                    <a:pt x="1035069" y="1718469"/>
                  </a:lnTo>
                  <a:lnTo>
                    <a:pt x="1022364" y="1763713"/>
                  </a:lnTo>
                  <a:lnTo>
                    <a:pt x="1013630" y="1808163"/>
                  </a:lnTo>
                  <a:lnTo>
                    <a:pt x="1003307" y="1855788"/>
                  </a:lnTo>
                  <a:lnTo>
                    <a:pt x="994573" y="1902619"/>
                  </a:lnTo>
                  <a:lnTo>
                    <a:pt x="985838" y="1955800"/>
                  </a:lnTo>
                  <a:lnTo>
                    <a:pt x="982662" y="2012157"/>
                  </a:lnTo>
                  <a:lnTo>
                    <a:pt x="983456" y="2070100"/>
                  </a:lnTo>
                  <a:lnTo>
                    <a:pt x="987427" y="2127250"/>
                  </a:lnTo>
                  <a:lnTo>
                    <a:pt x="996161" y="2183607"/>
                  </a:lnTo>
                  <a:lnTo>
                    <a:pt x="1004895" y="2235994"/>
                  </a:lnTo>
                  <a:lnTo>
                    <a:pt x="1017600" y="2285207"/>
                  </a:lnTo>
                  <a:lnTo>
                    <a:pt x="1028717" y="2327276"/>
                  </a:lnTo>
                  <a:lnTo>
                    <a:pt x="1057302" y="2411413"/>
                  </a:lnTo>
                  <a:lnTo>
                    <a:pt x="1089064" y="2489994"/>
                  </a:lnTo>
                  <a:lnTo>
                    <a:pt x="1124796" y="2564607"/>
                  </a:lnTo>
                  <a:lnTo>
                    <a:pt x="1165292" y="2635251"/>
                  </a:lnTo>
                  <a:lnTo>
                    <a:pt x="1208964" y="2699544"/>
                  </a:lnTo>
                  <a:lnTo>
                    <a:pt x="1258195" y="2759869"/>
                  </a:lnTo>
                  <a:lnTo>
                    <a:pt x="1310602" y="2816226"/>
                  </a:lnTo>
                  <a:lnTo>
                    <a:pt x="1367773" y="2868613"/>
                  </a:lnTo>
                  <a:lnTo>
                    <a:pt x="1429708" y="2916238"/>
                  </a:lnTo>
                  <a:lnTo>
                    <a:pt x="1495614" y="2959101"/>
                  </a:lnTo>
                  <a:lnTo>
                    <a:pt x="1568665" y="2998788"/>
                  </a:lnTo>
                  <a:lnTo>
                    <a:pt x="1644893" y="3033713"/>
                  </a:lnTo>
                  <a:lnTo>
                    <a:pt x="1675067" y="3046413"/>
                  </a:lnTo>
                  <a:lnTo>
                    <a:pt x="1711593" y="3059907"/>
                  </a:lnTo>
                  <a:lnTo>
                    <a:pt x="1752883" y="3074988"/>
                  </a:lnTo>
                  <a:lnTo>
                    <a:pt x="1797350" y="3088482"/>
                  </a:lnTo>
                  <a:lnTo>
                    <a:pt x="1846580" y="3102769"/>
                  </a:lnTo>
                  <a:lnTo>
                    <a:pt x="1898193" y="3113882"/>
                  </a:lnTo>
                  <a:lnTo>
                    <a:pt x="1949012" y="3123407"/>
                  </a:lnTo>
                  <a:lnTo>
                    <a:pt x="2002213" y="3129757"/>
                  </a:lnTo>
                  <a:lnTo>
                    <a:pt x="2052237" y="3132138"/>
                  </a:lnTo>
                  <a:lnTo>
                    <a:pt x="2103056" y="3129757"/>
                  </a:lnTo>
                  <a:lnTo>
                    <a:pt x="2150698" y="3123407"/>
                  </a:lnTo>
                  <a:lnTo>
                    <a:pt x="2198341" y="3113882"/>
                  </a:lnTo>
                  <a:lnTo>
                    <a:pt x="2247572" y="3105151"/>
                  </a:lnTo>
                  <a:lnTo>
                    <a:pt x="2295214" y="3097213"/>
                  </a:lnTo>
                  <a:lnTo>
                    <a:pt x="2342857" y="3088482"/>
                  </a:lnTo>
                  <a:lnTo>
                    <a:pt x="2387323" y="3076576"/>
                  </a:lnTo>
                  <a:lnTo>
                    <a:pt x="2430201" y="3061494"/>
                  </a:lnTo>
                  <a:lnTo>
                    <a:pt x="2504047" y="3028951"/>
                  </a:lnTo>
                  <a:lnTo>
                    <a:pt x="2575511" y="2992438"/>
                  </a:lnTo>
                  <a:lnTo>
                    <a:pt x="2643005" y="2951163"/>
                  </a:lnTo>
                  <a:lnTo>
                    <a:pt x="2707322" y="2905919"/>
                  </a:lnTo>
                  <a:lnTo>
                    <a:pt x="2768463" y="2857501"/>
                  </a:lnTo>
                  <a:lnTo>
                    <a:pt x="2825634" y="2805113"/>
                  </a:lnTo>
                  <a:lnTo>
                    <a:pt x="2878835" y="2748757"/>
                  </a:lnTo>
                  <a:lnTo>
                    <a:pt x="2928860" y="2688432"/>
                  </a:lnTo>
                  <a:lnTo>
                    <a:pt x="2972532" y="2624932"/>
                  </a:lnTo>
                  <a:lnTo>
                    <a:pt x="3012234" y="2555876"/>
                  </a:lnTo>
                  <a:lnTo>
                    <a:pt x="3046378" y="2485232"/>
                  </a:lnTo>
                  <a:lnTo>
                    <a:pt x="3068611" y="2426494"/>
                  </a:lnTo>
                  <a:lnTo>
                    <a:pt x="3087668" y="2364582"/>
                  </a:lnTo>
                  <a:lnTo>
                    <a:pt x="3105137" y="2301082"/>
                  </a:lnTo>
                  <a:lnTo>
                    <a:pt x="3121812" y="2237582"/>
                  </a:lnTo>
                  <a:lnTo>
                    <a:pt x="3133723" y="2172494"/>
                  </a:lnTo>
                  <a:lnTo>
                    <a:pt x="3140075" y="2105819"/>
                  </a:lnTo>
                  <a:lnTo>
                    <a:pt x="3140075" y="2038350"/>
                  </a:lnTo>
                  <a:lnTo>
                    <a:pt x="3136899" y="1972469"/>
                  </a:lnTo>
                  <a:lnTo>
                    <a:pt x="3128164" y="1905794"/>
                  </a:lnTo>
                  <a:lnTo>
                    <a:pt x="3115460" y="1843882"/>
                  </a:lnTo>
                  <a:lnTo>
                    <a:pt x="3100373" y="1783557"/>
                  </a:lnTo>
                  <a:lnTo>
                    <a:pt x="3082904" y="1726407"/>
                  </a:lnTo>
                  <a:lnTo>
                    <a:pt x="3065435" y="1674813"/>
                  </a:lnTo>
                  <a:lnTo>
                    <a:pt x="3046378" y="1627188"/>
                  </a:lnTo>
                  <a:lnTo>
                    <a:pt x="3016205" y="1562100"/>
                  </a:lnTo>
                  <a:lnTo>
                    <a:pt x="2983649" y="1499394"/>
                  </a:lnTo>
                  <a:lnTo>
                    <a:pt x="2948711" y="1439863"/>
                  </a:lnTo>
                  <a:lnTo>
                    <a:pt x="2909009" y="1383506"/>
                  </a:lnTo>
                  <a:lnTo>
                    <a:pt x="2866925" y="1329531"/>
                  </a:lnTo>
                  <a:lnTo>
                    <a:pt x="2820870" y="1278731"/>
                  </a:lnTo>
                  <a:lnTo>
                    <a:pt x="2772434" y="1231106"/>
                  </a:lnTo>
                  <a:lnTo>
                    <a:pt x="2719233" y="1188244"/>
                  </a:lnTo>
                  <a:lnTo>
                    <a:pt x="2662856" y="1146969"/>
                  </a:lnTo>
                  <a:lnTo>
                    <a:pt x="2603303" y="1111250"/>
                  </a:lnTo>
                  <a:lnTo>
                    <a:pt x="2538985" y="1078706"/>
                  </a:lnTo>
                  <a:lnTo>
                    <a:pt x="2471491" y="1049338"/>
                  </a:lnTo>
                  <a:lnTo>
                    <a:pt x="2400028" y="1026319"/>
                  </a:lnTo>
                  <a:lnTo>
                    <a:pt x="2323800" y="1005681"/>
                  </a:lnTo>
                  <a:lnTo>
                    <a:pt x="2245189" y="989806"/>
                  </a:lnTo>
                  <a:lnTo>
                    <a:pt x="2161021" y="977106"/>
                  </a:lnTo>
                  <a:lnTo>
                    <a:pt x="2072088" y="970756"/>
                  </a:lnTo>
                  <a:close/>
                  <a:moveTo>
                    <a:pt x="1983966" y="0"/>
                  </a:moveTo>
                  <a:lnTo>
                    <a:pt x="2020485" y="0"/>
                  </a:lnTo>
                  <a:lnTo>
                    <a:pt x="2057799" y="1588"/>
                  </a:lnTo>
                  <a:lnTo>
                    <a:pt x="2096700" y="3969"/>
                  </a:lnTo>
                  <a:lnTo>
                    <a:pt x="2136395" y="7144"/>
                  </a:lnTo>
                  <a:lnTo>
                    <a:pt x="2175296" y="11113"/>
                  </a:lnTo>
                  <a:lnTo>
                    <a:pt x="2211816" y="15081"/>
                  </a:lnTo>
                  <a:lnTo>
                    <a:pt x="2246748" y="19844"/>
                  </a:lnTo>
                  <a:lnTo>
                    <a:pt x="2279298" y="22225"/>
                  </a:lnTo>
                  <a:lnTo>
                    <a:pt x="2307084" y="26194"/>
                  </a:lnTo>
                  <a:lnTo>
                    <a:pt x="2329314" y="27781"/>
                  </a:lnTo>
                  <a:lnTo>
                    <a:pt x="2418231" y="576263"/>
                  </a:lnTo>
                  <a:lnTo>
                    <a:pt x="2476980" y="587375"/>
                  </a:lnTo>
                  <a:lnTo>
                    <a:pt x="2535728" y="604044"/>
                  </a:lnTo>
                  <a:lnTo>
                    <a:pt x="2593683" y="625475"/>
                  </a:lnTo>
                  <a:lnTo>
                    <a:pt x="2647669" y="647700"/>
                  </a:lnTo>
                  <a:lnTo>
                    <a:pt x="2697685" y="672306"/>
                  </a:lnTo>
                  <a:lnTo>
                    <a:pt x="2712769" y="681038"/>
                  </a:lnTo>
                  <a:lnTo>
                    <a:pt x="2727853" y="691356"/>
                  </a:lnTo>
                  <a:lnTo>
                    <a:pt x="2745319" y="702469"/>
                  </a:lnTo>
                  <a:lnTo>
                    <a:pt x="2762785" y="713581"/>
                  </a:lnTo>
                  <a:lnTo>
                    <a:pt x="2778663" y="722313"/>
                  </a:lnTo>
                  <a:lnTo>
                    <a:pt x="2793747" y="727869"/>
                  </a:lnTo>
                  <a:lnTo>
                    <a:pt x="2811213" y="727869"/>
                  </a:lnTo>
                  <a:lnTo>
                    <a:pt x="2829473" y="721519"/>
                  </a:lnTo>
                  <a:lnTo>
                    <a:pt x="2847733" y="710406"/>
                  </a:lnTo>
                  <a:lnTo>
                    <a:pt x="2865199" y="696119"/>
                  </a:lnTo>
                  <a:lnTo>
                    <a:pt x="2882664" y="681038"/>
                  </a:lnTo>
                  <a:lnTo>
                    <a:pt x="2897749" y="667544"/>
                  </a:lnTo>
                  <a:lnTo>
                    <a:pt x="2912039" y="654050"/>
                  </a:lnTo>
                  <a:lnTo>
                    <a:pt x="2923947" y="645319"/>
                  </a:lnTo>
                  <a:lnTo>
                    <a:pt x="3034300" y="569119"/>
                  </a:lnTo>
                  <a:lnTo>
                    <a:pt x="3142271" y="493713"/>
                  </a:lnTo>
                  <a:lnTo>
                    <a:pt x="3168470" y="477838"/>
                  </a:lnTo>
                  <a:lnTo>
                    <a:pt x="3194669" y="463550"/>
                  </a:lnTo>
                  <a:lnTo>
                    <a:pt x="3220073" y="447675"/>
                  </a:lnTo>
                  <a:lnTo>
                    <a:pt x="3243891" y="431006"/>
                  </a:lnTo>
                  <a:lnTo>
                    <a:pt x="3266120" y="411163"/>
                  </a:lnTo>
                  <a:lnTo>
                    <a:pt x="3285967" y="421481"/>
                  </a:lnTo>
                  <a:lnTo>
                    <a:pt x="3309785" y="434975"/>
                  </a:lnTo>
                  <a:lnTo>
                    <a:pt x="3335190" y="452438"/>
                  </a:lnTo>
                  <a:lnTo>
                    <a:pt x="3362976" y="475456"/>
                  </a:lnTo>
                  <a:lnTo>
                    <a:pt x="3391557" y="498475"/>
                  </a:lnTo>
                  <a:lnTo>
                    <a:pt x="3420137" y="526256"/>
                  </a:lnTo>
                  <a:lnTo>
                    <a:pt x="3447924" y="554038"/>
                  </a:lnTo>
                  <a:lnTo>
                    <a:pt x="3474917" y="581025"/>
                  </a:lnTo>
                  <a:lnTo>
                    <a:pt x="3501909" y="608806"/>
                  </a:lnTo>
                  <a:lnTo>
                    <a:pt x="3526520" y="635000"/>
                  </a:lnTo>
                  <a:lnTo>
                    <a:pt x="3547956" y="660400"/>
                  </a:lnTo>
                  <a:lnTo>
                    <a:pt x="3565422" y="681038"/>
                  </a:lnTo>
                  <a:lnTo>
                    <a:pt x="3580506" y="700088"/>
                  </a:lnTo>
                  <a:lnTo>
                    <a:pt x="3591620" y="713581"/>
                  </a:lnTo>
                  <a:lnTo>
                    <a:pt x="3605117" y="726281"/>
                  </a:lnTo>
                  <a:lnTo>
                    <a:pt x="3620201" y="738981"/>
                  </a:lnTo>
                  <a:lnTo>
                    <a:pt x="3634491" y="752475"/>
                  </a:lnTo>
                  <a:lnTo>
                    <a:pt x="3645606" y="765969"/>
                  </a:lnTo>
                  <a:lnTo>
                    <a:pt x="3655927" y="784225"/>
                  </a:lnTo>
                  <a:lnTo>
                    <a:pt x="3661484" y="802481"/>
                  </a:lnTo>
                  <a:lnTo>
                    <a:pt x="3643224" y="819944"/>
                  </a:lnTo>
                  <a:lnTo>
                    <a:pt x="3628140" y="839788"/>
                  </a:lnTo>
                  <a:lnTo>
                    <a:pt x="3614644" y="861219"/>
                  </a:lnTo>
                  <a:lnTo>
                    <a:pt x="3601941" y="884238"/>
                  </a:lnTo>
                  <a:lnTo>
                    <a:pt x="3586857" y="906463"/>
                  </a:lnTo>
                  <a:lnTo>
                    <a:pt x="3550337" y="954088"/>
                  </a:lnTo>
                  <a:lnTo>
                    <a:pt x="3511436" y="1001713"/>
                  </a:lnTo>
                  <a:lnTo>
                    <a:pt x="3472535" y="1050131"/>
                  </a:lnTo>
                  <a:lnTo>
                    <a:pt x="3436809" y="1097756"/>
                  </a:lnTo>
                  <a:lnTo>
                    <a:pt x="3417755" y="1126331"/>
                  </a:lnTo>
                  <a:lnTo>
                    <a:pt x="3400290" y="1154906"/>
                  </a:lnTo>
                  <a:lnTo>
                    <a:pt x="3382824" y="1184275"/>
                  </a:lnTo>
                  <a:lnTo>
                    <a:pt x="3362976" y="1211263"/>
                  </a:lnTo>
                  <a:lnTo>
                    <a:pt x="3341541" y="1235075"/>
                  </a:lnTo>
                  <a:lnTo>
                    <a:pt x="3361388" y="1273969"/>
                  </a:lnTo>
                  <a:lnTo>
                    <a:pt x="3383618" y="1312863"/>
                  </a:lnTo>
                  <a:lnTo>
                    <a:pt x="3407435" y="1350169"/>
                  </a:lnTo>
                  <a:lnTo>
                    <a:pt x="3430458" y="1389063"/>
                  </a:lnTo>
                  <a:lnTo>
                    <a:pt x="3450306" y="1427956"/>
                  </a:lnTo>
                  <a:lnTo>
                    <a:pt x="3459038" y="1450181"/>
                  </a:lnTo>
                  <a:lnTo>
                    <a:pt x="3467771" y="1476375"/>
                  </a:lnTo>
                  <a:lnTo>
                    <a:pt x="3474917" y="1504950"/>
                  </a:lnTo>
                  <a:lnTo>
                    <a:pt x="3483650" y="1535113"/>
                  </a:lnTo>
                  <a:lnTo>
                    <a:pt x="3493176" y="1563688"/>
                  </a:lnTo>
                  <a:lnTo>
                    <a:pt x="3502703" y="1589881"/>
                  </a:lnTo>
                  <a:lnTo>
                    <a:pt x="3513024" y="1613694"/>
                  </a:lnTo>
                  <a:lnTo>
                    <a:pt x="3525726" y="1632744"/>
                  </a:lnTo>
                  <a:lnTo>
                    <a:pt x="3543986" y="1641475"/>
                  </a:lnTo>
                  <a:lnTo>
                    <a:pt x="3565422" y="1645444"/>
                  </a:lnTo>
                  <a:lnTo>
                    <a:pt x="3587651" y="1647825"/>
                  </a:lnTo>
                  <a:lnTo>
                    <a:pt x="3610674" y="1648619"/>
                  </a:lnTo>
                  <a:lnTo>
                    <a:pt x="3634491" y="1654175"/>
                  </a:lnTo>
                  <a:lnTo>
                    <a:pt x="3693240" y="1667669"/>
                  </a:lnTo>
                  <a:lnTo>
                    <a:pt x="3754371" y="1678781"/>
                  </a:lnTo>
                  <a:lnTo>
                    <a:pt x="3815501" y="1689894"/>
                  </a:lnTo>
                  <a:lnTo>
                    <a:pt x="3877426" y="1702594"/>
                  </a:lnTo>
                  <a:lnTo>
                    <a:pt x="3936175" y="1715294"/>
                  </a:lnTo>
                  <a:lnTo>
                    <a:pt x="3953640" y="1719263"/>
                  </a:lnTo>
                  <a:lnTo>
                    <a:pt x="3972694" y="1721644"/>
                  </a:lnTo>
                  <a:lnTo>
                    <a:pt x="3992542" y="1722438"/>
                  </a:lnTo>
                  <a:lnTo>
                    <a:pt x="4012389" y="1724025"/>
                  </a:lnTo>
                  <a:lnTo>
                    <a:pt x="4031443" y="1727994"/>
                  </a:lnTo>
                  <a:lnTo>
                    <a:pt x="4048909" y="1731169"/>
                  </a:lnTo>
                  <a:lnTo>
                    <a:pt x="4062405" y="1739106"/>
                  </a:lnTo>
                  <a:lnTo>
                    <a:pt x="4072726" y="1750219"/>
                  </a:lnTo>
                  <a:lnTo>
                    <a:pt x="4079077" y="1765300"/>
                  </a:lnTo>
                  <a:lnTo>
                    <a:pt x="4082253" y="1782763"/>
                  </a:lnTo>
                  <a:lnTo>
                    <a:pt x="4082253" y="1801813"/>
                  </a:lnTo>
                  <a:lnTo>
                    <a:pt x="4082253" y="1820069"/>
                  </a:lnTo>
                  <a:lnTo>
                    <a:pt x="4083841" y="1839913"/>
                  </a:lnTo>
                  <a:lnTo>
                    <a:pt x="4086222" y="1860550"/>
                  </a:lnTo>
                  <a:lnTo>
                    <a:pt x="4094955" y="1913731"/>
                  </a:lnTo>
                  <a:lnTo>
                    <a:pt x="4101307" y="1970088"/>
                  </a:lnTo>
                  <a:lnTo>
                    <a:pt x="4102894" y="2028825"/>
                  </a:lnTo>
                  <a:lnTo>
                    <a:pt x="4103688" y="2089150"/>
                  </a:lnTo>
                  <a:lnTo>
                    <a:pt x="4102894" y="2150269"/>
                  </a:lnTo>
                  <a:lnTo>
                    <a:pt x="4100513" y="2211388"/>
                  </a:lnTo>
                  <a:lnTo>
                    <a:pt x="4100513" y="2271713"/>
                  </a:lnTo>
                  <a:lnTo>
                    <a:pt x="4092574" y="2278063"/>
                  </a:lnTo>
                  <a:lnTo>
                    <a:pt x="4027474" y="2280444"/>
                  </a:lnTo>
                  <a:lnTo>
                    <a:pt x="3959992" y="2287588"/>
                  </a:lnTo>
                  <a:lnTo>
                    <a:pt x="3890922" y="2297906"/>
                  </a:lnTo>
                  <a:lnTo>
                    <a:pt x="3821852" y="2310606"/>
                  </a:lnTo>
                  <a:lnTo>
                    <a:pt x="3753577" y="2324100"/>
                  </a:lnTo>
                  <a:lnTo>
                    <a:pt x="3684507" y="2337594"/>
                  </a:lnTo>
                  <a:lnTo>
                    <a:pt x="3617819" y="2350294"/>
                  </a:lnTo>
                  <a:lnTo>
                    <a:pt x="3552719" y="2360613"/>
                  </a:lnTo>
                  <a:lnTo>
                    <a:pt x="3541604" y="2434431"/>
                  </a:lnTo>
                  <a:lnTo>
                    <a:pt x="3524139" y="2506663"/>
                  </a:lnTo>
                  <a:lnTo>
                    <a:pt x="3501909" y="2575719"/>
                  </a:lnTo>
                  <a:lnTo>
                    <a:pt x="3476504" y="2641600"/>
                  </a:lnTo>
                  <a:lnTo>
                    <a:pt x="3450306" y="2704306"/>
                  </a:lnTo>
                  <a:lnTo>
                    <a:pt x="3439191" y="2726531"/>
                  </a:lnTo>
                  <a:lnTo>
                    <a:pt x="3426488" y="2747963"/>
                  </a:lnTo>
                  <a:lnTo>
                    <a:pt x="3413786" y="2769394"/>
                  </a:lnTo>
                  <a:lnTo>
                    <a:pt x="3402671" y="2793206"/>
                  </a:lnTo>
                  <a:lnTo>
                    <a:pt x="3395526" y="2820194"/>
                  </a:lnTo>
                  <a:lnTo>
                    <a:pt x="3413786" y="2837656"/>
                  </a:lnTo>
                  <a:lnTo>
                    <a:pt x="3430458" y="2859088"/>
                  </a:lnTo>
                  <a:lnTo>
                    <a:pt x="3443954" y="2881313"/>
                  </a:lnTo>
                  <a:lnTo>
                    <a:pt x="3456657" y="2905125"/>
                  </a:lnTo>
                  <a:lnTo>
                    <a:pt x="3470153" y="2928144"/>
                  </a:lnTo>
                  <a:lnTo>
                    <a:pt x="3483650" y="2950369"/>
                  </a:lnTo>
                  <a:lnTo>
                    <a:pt x="3536841" y="3021806"/>
                  </a:lnTo>
                  <a:lnTo>
                    <a:pt x="3590826" y="3091656"/>
                  </a:lnTo>
                  <a:lnTo>
                    <a:pt x="3641636" y="3163888"/>
                  </a:lnTo>
                  <a:lnTo>
                    <a:pt x="3655927" y="3186906"/>
                  </a:lnTo>
                  <a:lnTo>
                    <a:pt x="3669423" y="3210719"/>
                  </a:lnTo>
                  <a:lnTo>
                    <a:pt x="3682919" y="3234531"/>
                  </a:lnTo>
                  <a:lnTo>
                    <a:pt x="3698003" y="3255169"/>
                  </a:lnTo>
                  <a:lnTo>
                    <a:pt x="3717057" y="3272631"/>
                  </a:lnTo>
                  <a:lnTo>
                    <a:pt x="3710706" y="3280569"/>
                  </a:lnTo>
                  <a:lnTo>
                    <a:pt x="3675774" y="3331369"/>
                  </a:lnTo>
                  <a:lnTo>
                    <a:pt x="3636873" y="3381375"/>
                  </a:lnTo>
                  <a:lnTo>
                    <a:pt x="3595590" y="3431381"/>
                  </a:lnTo>
                  <a:lnTo>
                    <a:pt x="3550337" y="3479006"/>
                  </a:lnTo>
                  <a:lnTo>
                    <a:pt x="3504291" y="3522663"/>
                  </a:lnTo>
                  <a:lnTo>
                    <a:pt x="3457451" y="3561556"/>
                  </a:lnTo>
                  <a:lnTo>
                    <a:pt x="3439191" y="3578225"/>
                  </a:lnTo>
                  <a:lnTo>
                    <a:pt x="3422519" y="3595688"/>
                  </a:lnTo>
                  <a:lnTo>
                    <a:pt x="3406641" y="3613944"/>
                  </a:lnTo>
                  <a:lnTo>
                    <a:pt x="3389969" y="3631406"/>
                  </a:lnTo>
                  <a:lnTo>
                    <a:pt x="3370121" y="3646488"/>
                  </a:lnTo>
                  <a:lnTo>
                    <a:pt x="3347892" y="3658394"/>
                  </a:lnTo>
                  <a:lnTo>
                    <a:pt x="3331220" y="3639344"/>
                  </a:lnTo>
                  <a:lnTo>
                    <a:pt x="3311372" y="3622675"/>
                  </a:lnTo>
                  <a:lnTo>
                    <a:pt x="3288349" y="3609181"/>
                  </a:lnTo>
                  <a:lnTo>
                    <a:pt x="3267708" y="3596481"/>
                  </a:lnTo>
                  <a:lnTo>
                    <a:pt x="3244684" y="3581400"/>
                  </a:lnTo>
                  <a:lnTo>
                    <a:pt x="3189905" y="3539331"/>
                  </a:lnTo>
                  <a:lnTo>
                    <a:pt x="3135920" y="3494088"/>
                  </a:lnTo>
                  <a:lnTo>
                    <a:pt x="3081140" y="3452019"/>
                  </a:lnTo>
                  <a:lnTo>
                    <a:pt x="3047002" y="3429000"/>
                  </a:lnTo>
                  <a:lnTo>
                    <a:pt x="3012865" y="3408363"/>
                  </a:lnTo>
                  <a:lnTo>
                    <a:pt x="2977933" y="3385344"/>
                  </a:lnTo>
                  <a:lnTo>
                    <a:pt x="2945383" y="3361531"/>
                  </a:lnTo>
                  <a:lnTo>
                    <a:pt x="2916802" y="3335338"/>
                  </a:lnTo>
                  <a:lnTo>
                    <a:pt x="2892985" y="3348831"/>
                  </a:lnTo>
                  <a:lnTo>
                    <a:pt x="2870756" y="3365500"/>
                  </a:lnTo>
                  <a:lnTo>
                    <a:pt x="2849320" y="3381375"/>
                  </a:lnTo>
                  <a:lnTo>
                    <a:pt x="2827885" y="3396456"/>
                  </a:lnTo>
                  <a:lnTo>
                    <a:pt x="2780251" y="3424238"/>
                  </a:lnTo>
                  <a:lnTo>
                    <a:pt x="2730235" y="3448050"/>
                  </a:lnTo>
                  <a:lnTo>
                    <a:pt x="2677837" y="3471863"/>
                  </a:lnTo>
                  <a:lnTo>
                    <a:pt x="2626234" y="3493294"/>
                  </a:lnTo>
                  <a:lnTo>
                    <a:pt x="2574630" y="3513138"/>
                  </a:lnTo>
                  <a:lnTo>
                    <a:pt x="2558752" y="3519488"/>
                  </a:lnTo>
                  <a:lnTo>
                    <a:pt x="2541286" y="3522663"/>
                  </a:lnTo>
                  <a:lnTo>
                    <a:pt x="2523820" y="3526631"/>
                  </a:lnTo>
                  <a:lnTo>
                    <a:pt x="2506354" y="3529013"/>
                  </a:lnTo>
                  <a:lnTo>
                    <a:pt x="2488888" y="3534569"/>
                  </a:lnTo>
                  <a:lnTo>
                    <a:pt x="2473804" y="3540125"/>
                  </a:lnTo>
                  <a:lnTo>
                    <a:pt x="2461102" y="3548856"/>
                  </a:lnTo>
                  <a:lnTo>
                    <a:pt x="2452369" y="3561556"/>
                  </a:lnTo>
                  <a:lnTo>
                    <a:pt x="2441254" y="3582988"/>
                  </a:lnTo>
                  <a:lnTo>
                    <a:pt x="2434903" y="3608388"/>
                  </a:lnTo>
                  <a:lnTo>
                    <a:pt x="2430933" y="3635375"/>
                  </a:lnTo>
                  <a:lnTo>
                    <a:pt x="2428552" y="3663156"/>
                  </a:lnTo>
                  <a:lnTo>
                    <a:pt x="2426170" y="3691731"/>
                  </a:lnTo>
                  <a:lnTo>
                    <a:pt x="2423788" y="3720306"/>
                  </a:lnTo>
                  <a:lnTo>
                    <a:pt x="2418231" y="3746500"/>
                  </a:lnTo>
                  <a:lnTo>
                    <a:pt x="2400765" y="3815556"/>
                  </a:lnTo>
                  <a:lnTo>
                    <a:pt x="2384887" y="3885406"/>
                  </a:lnTo>
                  <a:lnTo>
                    <a:pt x="2369803" y="3958431"/>
                  </a:lnTo>
                  <a:lnTo>
                    <a:pt x="2357894" y="4031456"/>
                  </a:lnTo>
                  <a:lnTo>
                    <a:pt x="2349161" y="4104481"/>
                  </a:lnTo>
                  <a:lnTo>
                    <a:pt x="2151479" y="4124325"/>
                  </a:lnTo>
                  <a:lnTo>
                    <a:pt x="1836299" y="4117975"/>
                  </a:lnTo>
                  <a:lnTo>
                    <a:pt x="1829948" y="4110831"/>
                  </a:lnTo>
                  <a:lnTo>
                    <a:pt x="1747382" y="3567906"/>
                  </a:lnTo>
                  <a:lnTo>
                    <a:pt x="1689427" y="3561556"/>
                  </a:lnTo>
                  <a:lnTo>
                    <a:pt x="1630678" y="3548856"/>
                  </a:lnTo>
                  <a:lnTo>
                    <a:pt x="1573517" y="3531394"/>
                  </a:lnTo>
                  <a:lnTo>
                    <a:pt x="1517944" y="3509169"/>
                  </a:lnTo>
                  <a:lnTo>
                    <a:pt x="1465546" y="3486944"/>
                  </a:lnTo>
                  <a:lnTo>
                    <a:pt x="1416324" y="3461544"/>
                  </a:lnTo>
                  <a:lnTo>
                    <a:pt x="1371866" y="3437731"/>
                  </a:lnTo>
                  <a:lnTo>
                    <a:pt x="1363133" y="3432969"/>
                  </a:lnTo>
                  <a:lnTo>
                    <a:pt x="1351224" y="3426619"/>
                  </a:lnTo>
                  <a:lnTo>
                    <a:pt x="1339316" y="3419475"/>
                  </a:lnTo>
                  <a:lnTo>
                    <a:pt x="1324232" y="3411538"/>
                  </a:lnTo>
                  <a:lnTo>
                    <a:pt x="1309147" y="3402806"/>
                  </a:lnTo>
                  <a:lnTo>
                    <a:pt x="1294063" y="3395663"/>
                  </a:lnTo>
                  <a:lnTo>
                    <a:pt x="1279773" y="3389313"/>
                  </a:lnTo>
                  <a:lnTo>
                    <a:pt x="1268658" y="3384550"/>
                  </a:lnTo>
                  <a:lnTo>
                    <a:pt x="1259925" y="3381375"/>
                  </a:lnTo>
                  <a:lnTo>
                    <a:pt x="1255162" y="3382963"/>
                  </a:lnTo>
                  <a:lnTo>
                    <a:pt x="1211497" y="3408363"/>
                  </a:lnTo>
                  <a:lnTo>
                    <a:pt x="1170214" y="3436938"/>
                  </a:lnTo>
                  <a:lnTo>
                    <a:pt x="1129725" y="3467100"/>
                  </a:lnTo>
                  <a:lnTo>
                    <a:pt x="1090030" y="3498056"/>
                  </a:lnTo>
                  <a:lnTo>
                    <a:pt x="1049541" y="3526631"/>
                  </a:lnTo>
                  <a:lnTo>
                    <a:pt x="1012227" y="3550444"/>
                  </a:lnTo>
                  <a:lnTo>
                    <a:pt x="971738" y="3571875"/>
                  </a:lnTo>
                  <a:lnTo>
                    <a:pt x="934425" y="3595688"/>
                  </a:lnTo>
                  <a:lnTo>
                    <a:pt x="912989" y="3613150"/>
                  </a:lnTo>
                  <a:lnTo>
                    <a:pt x="890760" y="3631406"/>
                  </a:lnTo>
                  <a:lnTo>
                    <a:pt x="867737" y="3650456"/>
                  </a:lnTo>
                  <a:lnTo>
                    <a:pt x="844714" y="3667919"/>
                  </a:lnTo>
                  <a:lnTo>
                    <a:pt x="817721" y="3683000"/>
                  </a:lnTo>
                  <a:lnTo>
                    <a:pt x="790728" y="3691731"/>
                  </a:lnTo>
                  <a:lnTo>
                    <a:pt x="769293" y="3665538"/>
                  </a:lnTo>
                  <a:lnTo>
                    <a:pt x="743094" y="3639344"/>
                  </a:lnTo>
                  <a:lnTo>
                    <a:pt x="713720" y="3613944"/>
                  </a:lnTo>
                  <a:lnTo>
                    <a:pt x="684345" y="3590131"/>
                  </a:lnTo>
                  <a:lnTo>
                    <a:pt x="654177" y="3569494"/>
                  </a:lnTo>
                  <a:lnTo>
                    <a:pt x="626390" y="3548063"/>
                  </a:lnTo>
                  <a:lnTo>
                    <a:pt x="530328" y="3437731"/>
                  </a:lnTo>
                  <a:lnTo>
                    <a:pt x="512862" y="3420269"/>
                  </a:lnTo>
                  <a:lnTo>
                    <a:pt x="492221" y="3400425"/>
                  </a:lnTo>
                  <a:lnTo>
                    <a:pt x="473961" y="3380581"/>
                  </a:lnTo>
                  <a:lnTo>
                    <a:pt x="457289" y="3359150"/>
                  </a:lnTo>
                  <a:lnTo>
                    <a:pt x="446174" y="3337719"/>
                  </a:lnTo>
                  <a:lnTo>
                    <a:pt x="441411" y="3313906"/>
                  </a:lnTo>
                  <a:lnTo>
                    <a:pt x="456495" y="3302000"/>
                  </a:lnTo>
                  <a:lnTo>
                    <a:pt x="467610" y="3287713"/>
                  </a:lnTo>
                  <a:lnTo>
                    <a:pt x="476342" y="3271838"/>
                  </a:lnTo>
                  <a:lnTo>
                    <a:pt x="485869" y="3255169"/>
                  </a:lnTo>
                  <a:lnTo>
                    <a:pt x="496190" y="3239294"/>
                  </a:lnTo>
                  <a:lnTo>
                    <a:pt x="577962" y="3126581"/>
                  </a:lnTo>
                  <a:lnTo>
                    <a:pt x="660528" y="3013075"/>
                  </a:lnTo>
                  <a:lnTo>
                    <a:pt x="674024" y="2995613"/>
                  </a:lnTo>
                  <a:lnTo>
                    <a:pt x="690696" y="2976563"/>
                  </a:lnTo>
                  <a:lnTo>
                    <a:pt x="706574" y="2959100"/>
                  </a:lnTo>
                  <a:lnTo>
                    <a:pt x="723246" y="2940050"/>
                  </a:lnTo>
                  <a:lnTo>
                    <a:pt x="736743" y="2920206"/>
                  </a:lnTo>
                  <a:lnTo>
                    <a:pt x="749445" y="2898775"/>
                  </a:lnTo>
                  <a:lnTo>
                    <a:pt x="756590" y="2875756"/>
                  </a:lnTo>
                  <a:lnTo>
                    <a:pt x="730392" y="2843213"/>
                  </a:lnTo>
                  <a:lnTo>
                    <a:pt x="706574" y="2806700"/>
                  </a:lnTo>
                  <a:lnTo>
                    <a:pt x="685139" y="2767013"/>
                  </a:lnTo>
                  <a:lnTo>
                    <a:pt x="666879" y="2724150"/>
                  </a:lnTo>
                  <a:lnTo>
                    <a:pt x="647826" y="2680494"/>
                  </a:lnTo>
                  <a:lnTo>
                    <a:pt x="631154" y="2636838"/>
                  </a:lnTo>
                  <a:lnTo>
                    <a:pt x="615276" y="2593975"/>
                  </a:lnTo>
                  <a:lnTo>
                    <a:pt x="598604" y="2552700"/>
                  </a:lnTo>
                  <a:lnTo>
                    <a:pt x="591458" y="2528888"/>
                  </a:lnTo>
                  <a:lnTo>
                    <a:pt x="586695" y="2502694"/>
                  </a:lnTo>
                  <a:lnTo>
                    <a:pt x="582726" y="2476500"/>
                  </a:lnTo>
                  <a:lnTo>
                    <a:pt x="577962" y="2451894"/>
                  </a:lnTo>
                  <a:lnTo>
                    <a:pt x="570023" y="2428875"/>
                  </a:lnTo>
                  <a:lnTo>
                    <a:pt x="557321" y="2409031"/>
                  </a:lnTo>
                  <a:lnTo>
                    <a:pt x="536679" y="2398713"/>
                  </a:lnTo>
                  <a:lnTo>
                    <a:pt x="512862" y="2393950"/>
                  </a:lnTo>
                  <a:lnTo>
                    <a:pt x="487457" y="2389981"/>
                  </a:lnTo>
                  <a:lnTo>
                    <a:pt x="459670" y="2389188"/>
                  </a:lnTo>
                  <a:lnTo>
                    <a:pt x="433472" y="2386806"/>
                  </a:lnTo>
                  <a:lnTo>
                    <a:pt x="407273" y="2381250"/>
                  </a:lnTo>
                  <a:lnTo>
                    <a:pt x="342173" y="2366963"/>
                  </a:lnTo>
                  <a:lnTo>
                    <a:pt x="274691" y="2354263"/>
                  </a:lnTo>
                  <a:lnTo>
                    <a:pt x="205621" y="2339975"/>
                  </a:lnTo>
                  <a:lnTo>
                    <a:pt x="140521" y="2326481"/>
                  </a:lnTo>
                  <a:lnTo>
                    <a:pt x="120674" y="2322513"/>
                  </a:lnTo>
                  <a:lnTo>
                    <a:pt x="99238" y="2321719"/>
                  </a:lnTo>
                  <a:lnTo>
                    <a:pt x="79391" y="2320131"/>
                  </a:lnTo>
                  <a:lnTo>
                    <a:pt x="59543" y="2317750"/>
                  </a:lnTo>
                  <a:lnTo>
                    <a:pt x="40489" y="2313781"/>
                  </a:lnTo>
                  <a:lnTo>
                    <a:pt x="23817" y="2305050"/>
                  </a:lnTo>
                  <a:lnTo>
                    <a:pt x="16672" y="2289969"/>
                  </a:lnTo>
                  <a:lnTo>
                    <a:pt x="11909" y="2269331"/>
                  </a:lnTo>
                  <a:lnTo>
                    <a:pt x="6351" y="2241550"/>
                  </a:lnTo>
                  <a:lnTo>
                    <a:pt x="3970" y="2211388"/>
                  </a:lnTo>
                  <a:lnTo>
                    <a:pt x="1588" y="2176463"/>
                  </a:lnTo>
                  <a:lnTo>
                    <a:pt x="0" y="2139950"/>
                  </a:lnTo>
                  <a:lnTo>
                    <a:pt x="0" y="2102644"/>
                  </a:lnTo>
                  <a:lnTo>
                    <a:pt x="1588" y="2065338"/>
                  </a:lnTo>
                  <a:lnTo>
                    <a:pt x="3176" y="2028031"/>
                  </a:lnTo>
                  <a:lnTo>
                    <a:pt x="5557" y="1993106"/>
                  </a:lnTo>
                  <a:lnTo>
                    <a:pt x="7939" y="1960563"/>
                  </a:lnTo>
                  <a:lnTo>
                    <a:pt x="10321" y="1931194"/>
                  </a:lnTo>
                  <a:lnTo>
                    <a:pt x="14290" y="1906588"/>
                  </a:lnTo>
                  <a:lnTo>
                    <a:pt x="18260" y="1887538"/>
                  </a:lnTo>
                  <a:lnTo>
                    <a:pt x="20642" y="1869281"/>
                  </a:lnTo>
                  <a:lnTo>
                    <a:pt x="20642" y="1851819"/>
                  </a:lnTo>
                  <a:lnTo>
                    <a:pt x="20642" y="1835150"/>
                  </a:lnTo>
                  <a:lnTo>
                    <a:pt x="20642" y="1819275"/>
                  </a:lnTo>
                  <a:lnTo>
                    <a:pt x="21436" y="1804988"/>
                  </a:lnTo>
                  <a:lnTo>
                    <a:pt x="27787" y="1793875"/>
                  </a:lnTo>
                  <a:lnTo>
                    <a:pt x="38108" y="1784350"/>
                  </a:lnTo>
                  <a:lnTo>
                    <a:pt x="571611" y="1695450"/>
                  </a:lnTo>
                  <a:lnTo>
                    <a:pt x="582726" y="1632744"/>
                  </a:lnTo>
                  <a:lnTo>
                    <a:pt x="598604" y="1571625"/>
                  </a:lnTo>
                  <a:lnTo>
                    <a:pt x="621627" y="1511300"/>
                  </a:lnTo>
                  <a:lnTo>
                    <a:pt x="647826" y="1454944"/>
                  </a:lnTo>
                  <a:lnTo>
                    <a:pt x="674024" y="1401763"/>
                  </a:lnTo>
                  <a:lnTo>
                    <a:pt x="701811" y="1351756"/>
                  </a:lnTo>
                  <a:lnTo>
                    <a:pt x="706574" y="1343819"/>
                  </a:lnTo>
                  <a:lnTo>
                    <a:pt x="712926" y="1331119"/>
                  </a:lnTo>
                  <a:lnTo>
                    <a:pt x="720071" y="1319213"/>
                  </a:lnTo>
                  <a:lnTo>
                    <a:pt x="728804" y="1304131"/>
                  </a:lnTo>
                  <a:lnTo>
                    <a:pt x="736743" y="1289050"/>
                  </a:lnTo>
                  <a:lnTo>
                    <a:pt x="743094" y="1275556"/>
                  </a:lnTo>
                  <a:lnTo>
                    <a:pt x="747857" y="1263650"/>
                  </a:lnTo>
                  <a:lnTo>
                    <a:pt x="750239" y="1254125"/>
                  </a:lnTo>
                  <a:lnTo>
                    <a:pt x="749445" y="1248569"/>
                  </a:lnTo>
                  <a:lnTo>
                    <a:pt x="739125" y="1223963"/>
                  </a:lnTo>
                  <a:lnTo>
                    <a:pt x="724040" y="1201738"/>
                  </a:lnTo>
                  <a:lnTo>
                    <a:pt x="706574" y="1180306"/>
                  </a:lnTo>
                  <a:lnTo>
                    <a:pt x="690696" y="1160463"/>
                  </a:lnTo>
                  <a:lnTo>
                    <a:pt x="674024" y="1139031"/>
                  </a:lnTo>
                  <a:lnTo>
                    <a:pt x="636711" y="1082675"/>
                  </a:lnTo>
                  <a:lnTo>
                    <a:pt x="602573" y="1026319"/>
                  </a:lnTo>
                  <a:lnTo>
                    <a:pt x="567641" y="969169"/>
                  </a:lnTo>
                  <a:lnTo>
                    <a:pt x="530328" y="912813"/>
                  </a:lnTo>
                  <a:lnTo>
                    <a:pt x="515244" y="892969"/>
                  </a:lnTo>
                  <a:lnTo>
                    <a:pt x="498572" y="873919"/>
                  </a:lnTo>
                  <a:lnTo>
                    <a:pt x="482694" y="854075"/>
                  </a:lnTo>
                  <a:lnTo>
                    <a:pt x="468403" y="832644"/>
                  </a:lnTo>
                  <a:lnTo>
                    <a:pt x="456495" y="808831"/>
                  </a:lnTo>
                  <a:lnTo>
                    <a:pt x="448556" y="782638"/>
                  </a:lnTo>
                  <a:lnTo>
                    <a:pt x="468403" y="765969"/>
                  </a:lnTo>
                  <a:lnTo>
                    <a:pt x="485075" y="747713"/>
                  </a:lnTo>
                  <a:lnTo>
                    <a:pt x="500953" y="727869"/>
                  </a:lnTo>
                  <a:lnTo>
                    <a:pt x="516038" y="706438"/>
                  </a:lnTo>
                  <a:lnTo>
                    <a:pt x="530328" y="686594"/>
                  </a:lnTo>
                  <a:lnTo>
                    <a:pt x="687521" y="528638"/>
                  </a:lnTo>
                  <a:lnTo>
                    <a:pt x="710544" y="511175"/>
                  </a:lnTo>
                  <a:lnTo>
                    <a:pt x="732773" y="493713"/>
                  </a:lnTo>
                  <a:lnTo>
                    <a:pt x="756590" y="477838"/>
                  </a:lnTo>
                  <a:lnTo>
                    <a:pt x="779614" y="460375"/>
                  </a:lnTo>
                  <a:lnTo>
                    <a:pt x="800255" y="439738"/>
                  </a:lnTo>
                  <a:lnTo>
                    <a:pt x="817721" y="419100"/>
                  </a:lnTo>
                  <a:lnTo>
                    <a:pt x="845508" y="434975"/>
                  </a:lnTo>
                  <a:lnTo>
                    <a:pt x="871706" y="454819"/>
                  </a:lnTo>
                  <a:lnTo>
                    <a:pt x="897905" y="475456"/>
                  </a:lnTo>
                  <a:lnTo>
                    <a:pt x="921722" y="495300"/>
                  </a:lnTo>
                  <a:lnTo>
                    <a:pt x="947921" y="515144"/>
                  </a:lnTo>
                  <a:lnTo>
                    <a:pt x="1016197" y="561181"/>
                  </a:lnTo>
                  <a:lnTo>
                    <a:pt x="1084473" y="604838"/>
                  </a:lnTo>
                  <a:lnTo>
                    <a:pt x="1152748" y="652463"/>
                  </a:lnTo>
                  <a:lnTo>
                    <a:pt x="1170214" y="665956"/>
                  </a:lnTo>
                  <a:lnTo>
                    <a:pt x="1187680" y="681038"/>
                  </a:lnTo>
                  <a:lnTo>
                    <a:pt x="1205146" y="697706"/>
                  </a:lnTo>
                  <a:lnTo>
                    <a:pt x="1222612" y="712788"/>
                  </a:lnTo>
                  <a:lnTo>
                    <a:pt x="1242459" y="725488"/>
                  </a:lnTo>
                  <a:lnTo>
                    <a:pt x="1265483" y="735013"/>
                  </a:lnTo>
                  <a:lnTo>
                    <a:pt x="1290094" y="741363"/>
                  </a:lnTo>
                  <a:lnTo>
                    <a:pt x="1306766" y="725488"/>
                  </a:lnTo>
                  <a:lnTo>
                    <a:pt x="1330583" y="710406"/>
                  </a:lnTo>
                  <a:lnTo>
                    <a:pt x="1359163" y="692944"/>
                  </a:lnTo>
                  <a:lnTo>
                    <a:pt x="1392507" y="676275"/>
                  </a:lnTo>
                  <a:lnTo>
                    <a:pt x="1430615" y="660400"/>
                  </a:lnTo>
                  <a:lnTo>
                    <a:pt x="1469516" y="645319"/>
                  </a:lnTo>
                  <a:lnTo>
                    <a:pt x="1510799" y="630238"/>
                  </a:lnTo>
                  <a:lnTo>
                    <a:pt x="1550494" y="615950"/>
                  </a:lnTo>
                  <a:lnTo>
                    <a:pt x="1589395" y="604044"/>
                  </a:lnTo>
                  <a:lnTo>
                    <a:pt x="1625915" y="592931"/>
                  </a:lnTo>
                  <a:lnTo>
                    <a:pt x="1658465" y="584200"/>
                  </a:lnTo>
                  <a:lnTo>
                    <a:pt x="1685458" y="576263"/>
                  </a:lnTo>
                  <a:lnTo>
                    <a:pt x="1694985" y="504825"/>
                  </a:lnTo>
                  <a:lnTo>
                    <a:pt x="1706893" y="431006"/>
                  </a:lnTo>
                  <a:lnTo>
                    <a:pt x="1721977" y="358775"/>
                  </a:lnTo>
                  <a:lnTo>
                    <a:pt x="1737061" y="287338"/>
                  </a:lnTo>
                  <a:lnTo>
                    <a:pt x="1754527" y="219869"/>
                  </a:lnTo>
                  <a:lnTo>
                    <a:pt x="1760085" y="196056"/>
                  </a:lnTo>
                  <a:lnTo>
                    <a:pt x="1762466" y="171450"/>
                  </a:lnTo>
                  <a:lnTo>
                    <a:pt x="1763260" y="145256"/>
                  </a:lnTo>
                  <a:lnTo>
                    <a:pt x="1765642" y="119063"/>
                  </a:lnTo>
                  <a:lnTo>
                    <a:pt x="1768818" y="92869"/>
                  </a:lnTo>
                  <a:lnTo>
                    <a:pt x="1771993" y="69056"/>
                  </a:lnTo>
                  <a:lnTo>
                    <a:pt x="1778344" y="46038"/>
                  </a:lnTo>
                  <a:lnTo>
                    <a:pt x="1788665" y="27781"/>
                  </a:lnTo>
                  <a:lnTo>
                    <a:pt x="1799780" y="22225"/>
                  </a:lnTo>
                  <a:lnTo>
                    <a:pt x="1813276" y="19844"/>
                  </a:lnTo>
                  <a:lnTo>
                    <a:pt x="1828360" y="19844"/>
                  </a:lnTo>
                  <a:lnTo>
                    <a:pt x="1845826" y="19844"/>
                  </a:lnTo>
                  <a:lnTo>
                    <a:pt x="1862498" y="19844"/>
                  </a:lnTo>
                  <a:lnTo>
                    <a:pt x="1877582" y="21431"/>
                  </a:lnTo>
                  <a:lnTo>
                    <a:pt x="1895842" y="11113"/>
                  </a:lnTo>
                  <a:lnTo>
                    <a:pt x="1921247" y="4763"/>
                  </a:lnTo>
                  <a:lnTo>
                    <a:pt x="1951415" y="1588"/>
                  </a:lnTo>
                  <a:close/>
                </a:path>
              </a:pathLst>
            </a:custGeom>
            <a:solidFill>
              <a:srgbClr val="74B230"/>
            </a:solidFill>
            <a:ln w="0">
              <a:solidFill>
                <a:srgbClr val="F0FF62"/>
              </a:solid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87" name="Freeform 12"/>
            <p:cNvSpPr>
              <a:spLocks noChangeAspect="1" noEditPoints="1"/>
            </p:cNvSpPr>
            <p:nvPr/>
          </p:nvSpPr>
          <p:spPr bwMode="auto">
            <a:xfrm>
              <a:off x="155684" y="5411251"/>
              <a:ext cx="776003" cy="776003"/>
            </a:xfrm>
            <a:custGeom>
              <a:avLst/>
              <a:gdLst>
                <a:gd name="T0" fmla="*/ 2028 w 6434"/>
                <a:gd name="T1" fmla="*/ 4305 h 6434"/>
                <a:gd name="T2" fmla="*/ 2336 w 6434"/>
                <a:gd name="T3" fmla="*/ 4570 h 6434"/>
                <a:gd name="T4" fmla="*/ 2544 w 6434"/>
                <a:gd name="T5" fmla="*/ 4217 h 6434"/>
                <a:gd name="T6" fmla="*/ 3515 w 6434"/>
                <a:gd name="T7" fmla="*/ 3833 h 6434"/>
                <a:gd name="T8" fmla="*/ 2962 w 6434"/>
                <a:gd name="T9" fmla="*/ 4389 h 6434"/>
                <a:gd name="T10" fmla="*/ 3229 w 6434"/>
                <a:gd name="T11" fmla="*/ 5134 h 6434"/>
                <a:gd name="T12" fmla="*/ 4011 w 6434"/>
                <a:gd name="T13" fmla="*/ 5213 h 6434"/>
                <a:gd name="T14" fmla="*/ 4420 w 6434"/>
                <a:gd name="T15" fmla="*/ 4553 h 6434"/>
                <a:gd name="T16" fmla="*/ 3997 w 6434"/>
                <a:gd name="T17" fmla="*/ 3884 h 6434"/>
                <a:gd name="T18" fmla="*/ 4393 w 6434"/>
                <a:gd name="T19" fmla="*/ 3313 h 6434"/>
                <a:gd name="T20" fmla="*/ 4463 w 6434"/>
                <a:gd name="T21" fmla="*/ 3714 h 6434"/>
                <a:gd name="T22" fmla="*/ 4847 w 6434"/>
                <a:gd name="T23" fmla="*/ 3576 h 6434"/>
                <a:gd name="T24" fmla="*/ 4646 w 6434"/>
                <a:gd name="T25" fmla="*/ 3223 h 6434"/>
                <a:gd name="T26" fmla="*/ 2948 w 6434"/>
                <a:gd name="T27" fmla="*/ 3182 h 6434"/>
                <a:gd name="T28" fmla="*/ 3207 w 6434"/>
                <a:gd name="T29" fmla="*/ 3498 h 6434"/>
                <a:gd name="T30" fmla="*/ 3472 w 6434"/>
                <a:gd name="T31" fmla="*/ 3188 h 6434"/>
                <a:gd name="T32" fmla="*/ 1696 w 6434"/>
                <a:gd name="T33" fmla="*/ 2225 h 6434"/>
                <a:gd name="T34" fmla="*/ 1082 w 6434"/>
                <a:gd name="T35" fmla="*/ 2718 h 6434"/>
                <a:gd name="T36" fmla="*/ 1265 w 6434"/>
                <a:gd name="T37" fmla="*/ 3488 h 6434"/>
                <a:gd name="T38" fmla="*/ 2028 w 6434"/>
                <a:gd name="T39" fmla="*/ 3654 h 6434"/>
                <a:gd name="T40" fmla="*/ 2513 w 6434"/>
                <a:gd name="T41" fmla="*/ 3042 h 6434"/>
                <a:gd name="T42" fmla="*/ 2166 w 6434"/>
                <a:gd name="T43" fmla="*/ 2330 h 6434"/>
                <a:gd name="T44" fmla="*/ 2562 w 6434"/>
                <a:gd name="T45" fmla="*/ 1696 h 6434"/>
                <a:gd name="T46" fmla="*/ 2562 w 6434"/>
                <a:gd name="T47" fmla="*/ 2104 h 6434"/>
                <a:gd name="T48" fmla="*/ 2964 w 6434"/>
                <a:gd name="T49" fmla="*/ 2034 h 6434"/>
                <a:gd name="T50" fmla="*/ 2827 w 6434"/>
                <a:gd name="T51" fmla="*/ 1651 h 6434"/>
                <a:gd name="T52" fmla="*/ 3613 w 6434"/>
                <a:gd name="T53" fmla="*/ 1599 h 6434"/>
                <a:gd name="T54" fmla="*/ 3447 w 6434"/>
                <a:gd name="T55" fmla="*/ 2363 h 6434"/>
                <a:gd name="T56" fmla="*/ 4059 w 6434"/>
                <a:gd name="T57" fmla="*/ 2847 h 6434"/>
                <a:gd name="T58" fmla="*/ 4771 w 6434"/>
                <a:gd name="T59" fmla="*/ 2500 h 6434"/>
                <a:gd name="T60" fmla="*/ 4761 w 6434"/>
                <a:gd name="T61" fmla="*/ 1712 h 6434"/>
                <a:gd name="T62" fmla="*/ 3012 w 6434"/>
                <a:gd name="T63" fmla="*/ 0 h 6434"/>
                <a:gd name="T64" fmla="*/ 3521 w 6434"/>
                <a:gd name="T65" fmla="*/ 195 h 6434"/>
                <a:gd name="T66" fmla="*/ 4030 w 6434"/>
                <a:gd name="T67" fmla="*/ 651 h 6434"/>
                <a:gd name="T68" fmla="*/ 4942 w 6434"/>
                <a:gd name="T69" fmla="*/ 493 h 6434"/>
                <a:gd name="T70" fmla="*/ 5239 w 6434"/>
                <a:gd name="T71" fmla="*/ 951 h 6434"/>
                <a:gd name="T72" fmla="*/ 5381 w 6434"/>
                <a:gd name="T73" fmla="*/ 1618 h 6434"/>
                <a:gd name="T74" fmla="*/ 6214 w 6434"/>
                <a:gd name="T75" fmla="*/ 2028 h 6434"/>
                <a:gd name="T76" fmla="*/ 6186 w 6434"/>
                <a:gd name="T77" fmla="*/ 2574 h 6434"/>
                <a:gd name="T78" fmla="*/ 5908 w 6434"/>
                <a:gd name="T79" fmla="*/ 3198 h 6434"/>
                <a:gd name="T80" fmla="*/ 6340 w 6434"/>
                <a:gd name="T81" fmla="*/ 4016 h 6434"/>
                <a:gd name="T82" fmla="*/ 5997 w 6434"/>
                <a:gd name="T83" fmla="*/ 4441 h 6434"/>
                <a:gd name="T84" fmla="*/ 5407 w 6434"/>
                <a:gd name="T85" fmla="*/ 4783 h 6434"/>
                <a:gd name="T86" fmla="*/ 5274 w 6434"/>
                <a:gd name="T87" fmla="*/ 5699 h 6434"/>
                <a:gd name="T88" fmla="*/ 4748 w 6434"/>
                <a:gd name="T89" fmla="*/ 5841 h 6434"/>
                <a:gd name="T90" fmla="*/ 4067 w 6434"/>
                <a:gd name="T91" fmla="*/ 5771 h 6434"/>
                <a:gd name="T92" fmla="*/ 3422 w 6434"/>
                <a:gd name="T93" fmla="*/ 6434 h 6434"/>
                <a:gd name="T94" fmla="*/ 2913 w 6434"/>
                <a:gd name="T95" fmla="*/ 6239 h 6434"/>
                <a:gd name="T96" fmla="*/ 2404 w 6434"/>
                <a:gd name="T97" fmla="*/ 5783 h 6434"/>
                <a:gd name="T98" fmla="*/ 1492 w 6434"/>
                <a:gd name="T99" fmla="*/ 5941 h 6434"/>
                <a:gd name="T100" fmla="*/ 1195 w 6434"/>
                <a:gd name="T101" fmla="*/ 5483 h 6434"/>
                <a:gd name="T102" fmla="*/ 1053 w 6434"/>
                <a:gd name="T103" fmla="*/ 4816 h 6434"/>
                <a:gd name="T104" fmla="*/ 220 w 6434"/>
                <a:gd name="T105" fmla="*/ 4406 h 6434"/>
                <a:gd name="T106" fmla="*/ 248 w 6434"/>
                <a:gd name="T107" fmla="*/ 3860 h 6434"/>
                <a:gd name="T108" fmla="*/ 526 w 6434"/>
                <a:gd name="T109" fmla="*/ 3237 h 6434"/>
                <a:gd name="T110" fmla="*/ 94 w 6434"/>
                <a:gd name="T111" fmla="*/ 2418 h 6434"/>
                <a:gd name="T112" fmla="*/ 437 w 6434"/>
                <a:gd name="T113" fmla="*/ 1993 h 6434"/>
                <a:gd name="T114" fmla="*/ 1028 w 6434"/>
                <a:gd name="T115" fmla="*/ 1651 h 6434"/>
                <a:gd name="T116" fmla="*/ 1160 w 6434"/>
                <a:gd name="T117" fmla="*/ 735 h 6434"/>
                <a:gd name="T118" fmla="*/ 1687 w 6434"/>
                <a:gd name="T119" fmla="*/ 593 h 6434"/>
                <a:gd name="T120" fmla="*/ 2365 w 6434"/>
                <a:gd name="T121" fmla="*/ 663 h 6434"/>
                <a:gd name="T122" fmla="*/ 3012 w 6434"/>
                <a:gd name="T123" fmla="*/ 0 h 6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34" h="6434">
                  <a:moveTo>
                    <a:pt x="2297" y="4042"/>
                  </a:moveTo>
                  <a:lnTo>
                    <a:pt x="2250" y="4046"/>
                  </a:lnTo>
                  <a:lnTo>
                    <a:pt x="2203" y="4057"/>
                  </a:lnTo>
                  <a:lnTo>
                    <a:pt x="2160" y="4077"/>
                  </a:lnTo>
                  <a:lnTo>
                    <a:pt x="2121" y="4104"/>
                  </a:lnTo>
                  <a:lnTo>
                    <a:pt x="2090" y="4137"/>
                  </a:lnTo>
                  <a:lnTo>
                    <a:pt x="2063" y="4174"/>
                  </a:lnTo>
                  <a:lnTo>
                    <a:pt x="2043" y="4215"/>
                  </a:lnTo>
                  <a:lnTo>
                    <a:pt x="2032" y="4258"/>
                  </a:lnTo>
                  <a:lnTo>
                    <a:pt x="2028" y="4305"/>
                  </a:lnTo>
                  <a:lnTo>
                    <a:pt x="2032" y="4352"/>
                  </a:lnTo>
                  <a:lnTo>
                    <a:pt x="2043" y="4397"/>
                  </a:lnTo>
                  <a:lnTo>
                    <a:pt x="2063" y="4441"/>
                  </a:lnTo>
                  <a:lnTo>
                    <a:pt x="2090" y="4478"/>
                  </a:lnTo>
                  <a:lnTo>
                    <a:pt x="2123" y="4512"/>
                  </a:lnTo>
                  <a:lnTo>
                    <a:pt x="2160" y="4537"/>
                  </a:lnTo>
                  <a:lnTo>
                    <a:pt x="2201" y="4556"/>
                  </a:lnTo>
                  <a:lnTo>
                    <a:pt x="2244" y="4570"/>
                  </a:lnTo>
                  <a:lnTo>
                    <a:pt x="2291" y="4574"/>
                  </a:lnTo>
                  <a:lnTo>
                    <a:pt x="2336" y="4570"/>
                  </a:lnTo>
                  <a:lnTo>
                    <a:pt x="2383" y="4558"/>
                  </a:lnTo>
                  <a:lnTo>
                    <a:pt x="2427" y="4539"/>
                  </a:lnTo>
                  <a:lnTo>
                    <a:pt x="2464" y="4512"/>
                  </a:lnTo>
                  <a:lnTo>
                    <a:pt x="2498" y="4478"/>
                  </a:lnTo>
                  <a:lnTo>
                    <a:pt x="2523" y="4441"/>
                  </a:lnTo>
                  <a:lnTo>
                    <a:pt x="2542" y="4400"/>
                  </a:lnTo>
                  <a:lnTo>
                    <a:pt x="2556" y="4358"/>
                  </a:lnTo>
                  <a:lnTo>
                    <a:pt x="2560" y="4311"/>
                  </a:lnTo>
                  <a:lnTo>
                    <a:pt x="2556" y="4264"/>
                  </a:lnTo>
                  <a:lnTo>
                    <a:pt x="2544" y="4217"/>
                  </a:lnTo>
                  <a:lnTo>
                    <a:pt x="2525" y="4174"/>
                  </a:lnTo>
                  <a:lnTo>
                    <a:pt x="2498" y="4137"/>
                  </a:lnTo>
                  <a:lnTo>
                    <a:pt x="2464" y="4104"/>
                  </a:lnTo>
                  <a:lnTo>
                    <a:pt x="2427" y="4077"/>
                  </a:lnTo>
                  <a:lnTo>
                    <a:pt x="2386" y="4059"/>
                  </a:lnTo>
                  <a:lnTo>
                    <a:pt x="2342" y="4046"/>
                  </a:lnTo>
                  <a:lnTo>
                    <a:pt x="2297" y="4042"/>
                  </a:lnTo>
                  <a:close/>
                  <a:moveTo>
                    <a:pt x="3683" y="3814"/>
                  </a:moveTo>
                  <a:lnTo>
                    <a:pt x="3599" y="3818"/>
                  </a:lnTo>
                  <a:lnTo>
                    <a:pt x="3515" y="3833"/>
                  </a:lnTo>
                  <a:lnTo>
                    <a:pt x="3433" y="3857"/>
                  </a:lnTo>
                  <a:lnTo>
                    <a:pt x="3354" y="3890"/>
                  </a:lnTo>
                  <a:lnTo>
                    <a:pt x="3281" y="3933"/>
                  </a:lnTo>
                  <a:lnTo>
                    <a:pt x="3213" y="3981"/>
                  </a:lnTo>
                  <a:lnTo>
                    <a:pt x="3153" y="4036"/>
                  </a:lnTo>
                  <a:lnTo>
                    <a:pt x="3100" y="4098"/>
                  </a:lnTo>
                  <a:lnTo>
                    <a:pt x="3053" y="4165"/>
                  </a:lnTo>
                  <a:lnTo>
                    <a:pt x="3014" y="4237"/>
                  </a:lnTo>
                  <a:lnTo>
                    <a:pt x="2985" y="4311"/>
                  </a:lnTo>
                  <a:lnTo>
                    <a:pt x="2962" y="4389"/>
                  </a:lnTo>
                  <a:lnTo>
                    <a:pt x="2948" y="4469"/>
                  </a:lnTo>
                  <a:lnTo>
                    <a:pt x="2944" y="4551"/>
                  </a:lnTo>
                  <a:lnTo>
                    <a:pt x="2948" y="4634"/>
                  </a:lnTo>
                  <a:lnTo>
                    <a:pt x="2964" y="4718"/>
                  </a:lnTo>
                  <a:lnTo>
                    <a:pt x="2987" y="4800"/>
                  </a:lnTo>
                  <a:lnTo>
                    <a:pt x="3020" y="4880"/>
                  </a:lnTo>
                  <a:lnTo>
                    <a:pt x="3063" y="4952"/>
                  </a:lnTo>
                  <a:lnTo>
                    <a:pt x="3112" y="5020"/>
                  </a:lnTo>
                  <a:lnTo>
                    <a:pt x="3166" y="5081"/>
                  </a:lnTo>
                  <a:lnTo>
                    <a:pt x="3229" y="5134"/>
                  </a:lnTo>
                  <a:lnTo>
                    <a:pt x="3295" y="5180"/>
                  </a:lnTo>
                  <a:lnTo>
                    <a:pt x="3367" y="5219"/>
                  </a:lnTo>
                  <a:lnTo>
                    <a:pt x="3441" y="5251"/>
                  </a:lnTo>
                  <a:lnTo>
                    <a:pt x="3519" y="5272"/>
                  </a:lnTo>
                  <a:lnTo>
                    <a:pt x="3599" y="5286"/>
                  </a:lnTo>
                  <a:lnTo>
                    <a:pt x="3681" y="5290"/>
                  </a:lnTo>
                  <a:lnTo>
                    <a:pt x="3765" y="5286"/>
                  </a:lnTo>
                  <a:lnTo>
                    <a:pt x="3849" y="5272"/>
                  </a:lnTo>
                  <a:lnTo>
                    <a:pt x="3931" y="5247"/>
                  </a:lnTo>
                  <a:lnTo>
                    <a:pt x="4011" y="5213"/>
                  </a:lnTo>
                  <a:lnTo>
                    <a:pt x="4083" y="5171"/>
                  </a:lnTo>
                  <a:lnTo>
                    <a:pt x="4151" y="5122"/>
                  </a:lnTo>
                  <a:lnTo>
                    <a:pt x="4211" y="5067"/>
                  </a:lnTo>
                  <a:lnTo>
                    <a:pt x="4264" y="5005"/>
                  </a:lnTo>
                  <a:lnTo>
                    <a:pt x="4311" y="4939"/>
                  </a:lnTo>
                  <a:lnTo>
                    <a:pt x="4350" y="4866"/>
                  </a:lnTo>
                  <a:lnTo>
                    <a:pt x="4379" y="4792"/>
                  </a:lnTo>
                  <a:lnTo>
                    <a:pt x="4402" y="4714"/>
                  </a:lnTo>
                  <a:lnTo>
                    <a:pt x="4416" y="4634"/>
                  </a:lnTo>
                  <a:lnTo>
                    <a:pt x="4420" y="4553"/>
                  </a:lnTo>
                  <a:lnTo>
                    <a:pt x="4416" y="4469"/>
                  </a:lnTo>
                  <a:lnTo>
                    <a:pt x="4400" y="4385"/>
                  </a:lnTo>
                  <a:lnTo>
                    <a:pt x="4377" y="4303"/>
                  </a:lnTo>
                  <a:lnTo>
                    <a:pt x="4344" y="4223"/>
                  </a:lnTo>
                  <a:lnTo>
                    <a:pt x="4301" y="4151"/>
                  </a:lnTo>
                  <a:lnTo>
                    <a:pt x="4252" y="4083"/>
                  </a:lnTo>
                  <a:lnTo>
                    <a:pt x="4198" y="4022"/>
                  </a:lnTo>
                  <a:lnTo>
                    <a:pt x="4135" y="3970"/>
                  </a:lnTo>
                  <a:lnTo>
                    <a:pt x="4069" y="3923"/>
                  </a:lnTo>
                  <a:lnTo>
                    <a:pt x="3997" y="3884"/>
                  </a:lnTo>
                  <a:lnTo>
                    <a:pt x="3923" y="3855"/>
                  </a:lnTo>
                  <a:lnTo>
                    <a:pt x="3845" y="3831"/>
                  </a:lnTo>
                  <a:lnTo>
                    <a:pt x="3765" y="3818"/>
                  </a:lnTo>
                  <a:lnTo>
                    <a:pt x="3683" y="3814"/>
                  </a:lnTo>
                  <a:close/>
                  <a:moveTo>
                    <a:pt x="4601" y="3217"/>
                  </a:moveTo>
                  <a:lnTo>
                    <a:pt x="4555" y="3221"/>
                  </a:lnTo>
                  <a:lnTo>
                    <a:pt x="4508" y="3233"/>
                  </a:lnTo>
                  <a:lnTo>
                    <a:pt x="4465" y="3254"/>
                  </a:lnTo>
                  <a:lnTo>
                    <a:pt x="4426" y="3279"/>
                  </a:lnTo>
                  <a:lnTo>
                    <a:pt x="4393" y="3313"/>
                  </a:lnTo>
                  <a:lnTo>
                    <a:pt x="4367" y="3350"/>
                  </a:lnTo>
                  <a:lnTo>
                    <a:pt x="4348" y="3391"/>
                  </a:lnTo>
                  <a:lnTo>
                    <a:pt x="4336" y="3435"/>
                  </a:lnTo>
                  <a:lnTo>
                    <a:pt x="4330" y="3480"/>
                  </a:lnTo>
                  <a:lnTo>
                    <a:pt x="4334" y="3527"/>
                  </a:lnTo>
                  <a:lnTo>
                    <a:pt x="4346" y="3574"/>
                  </a:lnTo>
                  <a:lnTo>
                    <a:pt x="4367" y="3617"/>
                  </a:lnTo>
                  <a:lnTo>
                    <a:pt x="4395" y="3656"/>
                  </a:lnTo>
                  <a:lnTo>
                    <a:pt x="4426" y="3687"/>
                  </a:lnTo>
                  <a:lnTo>
                    <a:pt x="4463" y="3714"/>
                  </a:lnTo>
                  <a:lnTo>
                    <a:pt x="4504" y="3734"/>
                  </a:lnTo>
                  <a:lnTo>
                    <a:pt x="4549" y="3745"/>
                  </a:lnTo>
                  <a:lnTo>
                    <a:pt x="4594" y="3749"/>
                  </a:lnTo>
                  <a:lnTo>
                    <a:pt x="4640" y="3745"/>
                  </a:lnTo>
                  <a:lnTo>
                    <a:pt x="4687" y="3734"/>
                  </a:lnTo>
                  <a:lnTo>
                    <a:pt x="4730" y="3714"/>
                  </a:lnTo>
                  <a:lnTo>
                    <a:pt x="4769" y="3687"/>
                  </a:lnTo>
                  <a:lnTo>
                    <a:pt x="4802" y="3654"/>
                  </a:lnTo>
                  <a:lnTo>
                    <a:pt x="4827" y="3617"/>
                  </a:lnTo>
                  <a:lnTo>
                    <a:pt x="4847" y="3576"/>
                  </a:lnTo>
                  <a:lnTo>
                    <a:pt x="4859" y="3533"/>
                  </a:lnTo>
                  <a:lnTo>
                    <a:pt x="4863" y="3486"/>
                  </a:lnTo>
                  <a:lnTo>
                    <a:pt x="4861" y="3441"/>
                  </a:lnTo>
                  <a:lnTo>
                    <a:pt x="4847" y="3394"/>
                  </a:lnTo>
                  <a:lnTo>
                    <a:pt x="4827" y="3350"/>
                  </a:lnTo>
                  <a:lnTo>
                    <a:pt x="4800" y="3313"/>
                  </a:lnTo>
                  <a:lnTo>
                    <a:pt x="4769" y="3279"/>
                  </a:lnTo>
                  <a:lnTo>
                    <a:pt x="4732" y="3254"/>
                  </a:lnTo>
                  <a:lnTo>
                    <a:pt x="4691" y="3235"/>
                  </a:lnTo>
                  <a:lnTo>
                    <a:pt x="4646" y="3223"/>
                  </a:lnTo>
                  <a:lnTo>
                    <a:pt x="4601" y="3217"/>
                  </a:lnTo>
                  <a:close/>
                  <a:moveTo>
                    <a:pt x="3213" y="2966"/>
                  </a:moveTo>
                  <a:lnTo>
                    <a:pt x="3166" y="2969"/>
                  </a:lnTo>
                  <a:lnTo>
                    <a:pt x="3120" y="2981"/>
                  </a:lnTo>
                  <a:lnTo>
                    <a:pt x="3077" y="3001"/>
                  </a:lnTo>
                  <a:lnTo>
                    <a:pt x="3038" y="3028"/>
                  </a:lnTo>
                  <a:lnTo>
                    <a:pt x="3006" y="3061"/>
                  </a:lnTo>
                  <a:lnTo>
                    <a:pt x="2979" y="3098"/>
                  </a:lnTo>
                  <a:lnTo>
                    <a:pt x="2960" y="3139"/>
                  </a:lnTo>
                  <a:lnTo>
                    <a:pt x="2948" y="3182"/>
                  </a:lnTo>
                  <a:lnTo>
                    <a:pt x="2944" y="3229"/>
                  </a:lnTo>
                  <a:lnTo>
                    <a:pt x="2948" y="3274"/>
                  </a:lnTo>
                  <a:lnTo>
                    <a:pt x="2960" y="3320"/>
                  </a:lnTo>
                  <a:lnTo>
                    <a:pt x="2979" y="3365"/>
                  </a:lnTo>
                  <a:lnTo>
                    <a:pt x="3006" y="3402"/>
                  </a:lnTo>
                  <a:lnTo>
                    <a:pt x="3038" y="3435"/>
                  </a:lnTo>
                  <a:lnTo>
                    <a:pt x="3077" y="3461"/>
                  </a:lnTo>
                  <a:lnTo>
                    <a:pt x="3118" y="3480"/>
                  </a:lnTo>
                  <a:lnTo>
                    <a:pt x="3160" y="3494"/>
                  </a:lnTo>
                  <a:lnTo>
                    <a:pt x="3207" y="3498"/>
                  </a:lnTo>
                  <a:lnTo>
                    <a:pt x="3252" y="3494"/>
                  </a:lnTo>
                  <a:lnTo>
                    <a:pt x="3299" y="3482"/>
                  </a:lnTo>
                  <a:lnTo>
                    <a:pt x="3344" y="3463"/>
                  </a:lnTo>
                  <a:lnTo>
                    <a:pt x="3381" y="3435"/>
                  </a:lnTo>
                  <a:lnTo>
                    <a:pt x="3414" y="3402"/>
                  </a:lnTo>
                  <a:lnTo>
                    <a:pt x="3439" y="3365"/>
                  </a:lnTo>
                  <a:lnTo>
                    <a:pt x="3459" y="3324"/>
                  </a:lnTo>
                  <a:lnTo>
                    <a:pt x="3470" y="3281"/>
                  </a:lnTo>
                  <a:lnTo>
                    <a:pt x="3476" y="3235"/>
                  </a:lnTo>
                  <a:lnTo>
                    <a:pt x="3472" y="3188"/>
                  </a:lnTo>
                  <a:lnTo>
                    <a:pt x="3461" y="3141"/>
                  </a:lnTo>
                  <a:lnTo>
                    <a:pt x="3439" y="3098"/>
                  </a:lnTo>
                  <a:lnTo>
                    <a:pt x="3414" y="3059"/>
                  </a:lnTo>
                  <a:lnTo>
                    <a:pt x="3381" y="3028"/>
                  </a:lnTo>
                  <a:lnTo>
                    <a:pt x="3344" y="3001"/>
                  </a:lnTo>
                  <a:lnTo>
                    <a:pt x="3303" y="2981"/>
                  </a:lnTo>
                  <a:lnTo>
                    <a:pt x="3258" y="2969"/>
                  </a:lnTo>
                  <a:lnTo>
                    <a:pt x="3213" y="2966"/>
                  </a:lnTo>
                  <a:close/>
                  <a:moveTo>
                    <a:pt x="1780" y="2221"/>
                  </a:moveTo>
                  <a:lnTo>
                    <a:pt x="1696" y="2225"/>
                  </a:lnTo>
                  <a:lnTo>
                    <a:pt x="1614" y="2240"/>
                  </a:lnTo>
                  <a:lnTo>
                    <a:pt x="1531" y="2264"/>
                  </a:lnTo>
                  <a:lnTo>
                    <a:pt x="1453" y="2299"/>
                  </a:lnTo>
                  <a:lnTo>
                    <a:pt x="1378" y="2340"/>
                  </a:lnTo>
                  <a:lnTo>
                    <a:pt x="1310" y="2388"/>
                  </a:lnTo>
                  <a:lnTo>
                    <a:pt x="1250" y="2445"/>
                  </a:lnTo>
                  <a:lnTo>
                    <a:pt x="1197" y="2505"/>
                  </a:lnTo>
                  <a:lnTo>
                    <a:pt x="1150" y="2572"/>
                  </a:lnTo>
                  <a:lnTo>
                    <a:pt x="1113" y="2644"/>
                  </a:lnTo>
                  <a:lnTo>
                    <a:pt x="1082" y="2718"/>
                  </a:lnTo>
                  <a:lnTo>
                    <a:pt x="1059" y="2796"/>
                  </a:lnTo>
                  <a:lnTo>
                    <a:pt x="1045" y="2878"/>
                  </a:lnTo>
                  <a:lnTo>
                    <a:pt x="1041" y="2960"/>
                  </a:lnTo>
                  <a:lnTo>
                    <a:pt x="1045" y="3042"/>
                  </a:lnTo>
                  <a:lnTo>
                    <a:pt x="1061" y="3125"/>
                  </a:lnTo>
                  <a:lnTo>
                    <a:pt x="1084" y="3207"/>
                  </a:lnTo>
                  <a:lnTo>
                    <a:pt x="1119" y="3287"/>
                  </a:lnTo>
                  <a:lnTo>
                    <a:pt x="1160" y="3361"/>
                  </a:lnTo>
                  <a:lnTo>
                    <a:pt x="1209" y="3428"/>
                  </a:lnTo>
                  <a:lnTo>
                    <a:pt x="1265" y="3488"/>
                  </a:lnTo>
                  <a:lnTo>
                    <a:pt x="1326" y="3541"/>
                  </a:lnTo>
                  <a:lnTo>
                    <a:pt x="1392" y="3587"/>
                  </a:lnTo>
                  <a:lnTo>
                    <a:pt x="1464" y="3626"/>
                  </a:lnTo>
                  <a:lnTo>
                    <a:pt x="1538" y="3658"/>
                  </a:lnTo>
                  <a:lnTo>
                    <a:pt x="1616" y="3679"/>
                  </a:lnTo>
                  <a:lnTo>
                    <a:pt x="1698" y="3693"/>
                  </a:lnTo>
                  <a:lnTo>
                    <a:pt x="1780" y="3697"/>
                  </a:lnTo>
                  <a:lnTo>
                    <a:pt x="1862" y="3693"/>
                  </a:lnTo>
                  <a:lnTo>
                    <a:pt x="1946" y="3679"/>
                  </a:lnTo>
                  <a:lnTo>
                    <a:pt x="2028" y="3654"/>
                  </a:lnTo>
                  <a:lnTo>
                    <a:pt x="2108" y="3621"/>
                  </a:lnTo>
                  <a:lnTo>
                    <a:pt x="2182" y="3578"/>
                  </a:lnTo>
                  <a:lnTo>
                    <a:pt x="2248" y="3529"/>
                  </a:lnTo>
                  <a:lnTo>
                    <a:pt x="2308" y="3474"/>
                  </a:lnTo>
                  <a:lnTo>
                    <a:pt x="2363" y="3412"/>
                  </a:lnTo>
                  <a:lnTo>
                    <a:pt x="2408" y="3346"/>
                  </a:lnTo>
                  <a:lnTo>
                    <a:pt x="2447" y="3276"/>
                  </a:lnTo>
                  <a:lnTo>
                    <a:pt x="2478" y="3199"/>
                  </a:lnTo>
                  <a:lnTo>
                    <a:pt x="2500" y="3121"/>
                  </a:lnTo>
                  <a:lnTo>
                    <a:pt x="2513" y="3042"/>
                  </a:lnTo>
                  <a:lnTo>
                    <a:pt x="2517" y="2960"/>
                  </a:lnTo>
                  <a:lnTo>
                    <a:pt x="2513" y="2876"/>
                  </a:lnTo>
                  <a:lnTo>
                    <a:pt x="2500" y="2794"/>
                  </a:lnTo>
                  <a:lnTo>
                    <a:pt x="2474" y="2710"/>
                  </a:lnTo>
                  <a:lnTo>
                    <a:pt x="2441" y="2630"/>
                  </a:lnTo>
                  <a:lnTo>
                    <a:pt x="2400" y="2558"/>
                  </a:lnTo>
                  <a:lnTo>
                    <a:pt x="2349" y="2490"/>
                  </a:lnTo>
                  <a:lnTo>
                    <a:pt x="2295" y="2429"/>
                  </a:lnTo>
                  <a:lnTo>
                    <a:pt x="2232" y="2377"/>
                  </a:lnTo>
                  <a:lnTo>
                    <a:pt x="2166" y="2330"/>
                  </a:lnTo>
                  <a:lnTo>
                    <a:pt x="2096" y="2291"/>
                  </a:lnTo>
                  <a:lnTo>
                    <a:pt x="2020" y="2262"/>
                  </a:lnTo>
                  <a:lnTo>
                    <a:pt x="1942" y="2238"/>
                  </a:lnTo>
                  <a:lnTo>
                    <a:pt x="1862" y="2225"/>
                  </a:lnTo>
                  <a:lnTo>
                    <a:pt x="1780" y="2221"/>
                  </a:lnTo>
                  <a:close/>
                  <a:moveTo>
                    <a:pt x="2737" y="1634"/>
                  </a:moveTo>
                  <a:lnTo>
                    <a:pt x="2691" y="1638"/>
                  </a:lnTo>
                  <a:lnTo>
                    <a:pt x="2644" y="1649"/>
                  </a:lnTo>
                  <a:lnTo>
                    <a:pt x="2601" y="1671"/>
                  </a:lnTo>
                  <a:lnTo>
                    <a:pt x="2562" y="1696"/>
                  </a:lnTo>
                  <a:lnTo>
                    <a:pt x="2529" y="1729"/>
                  </a:lnTo>
                  <a:lnTo>
                    <a:pt x="2503" y="1766"/>
                  </a:lnTo>
                  <a:lnTo>
                    <a:pt x="2484" y="1807"/>
                  </a:lnTo>
                  <a:lnTo>
                    <a:pt x="2472" y="1852"/>
                  </a:lnTo>
                  <a:lnTo>
                    <a:pt x="2466" y="1897"/>
                  </a:lnTo>
                  <a:lnTo>
                    <a:pt x="2470" y="1944"/>
                  </a:lnTo>
                  <a:lnTo>
                    <a:pt x="2484" y="1991"/>
                  </a:lnTo>
                  <a:lnTo>
                    <a:pt x="2503" y="2034"/>
                  </a:lnTo>
                  <a:lnTo>
                    <a:pt x="2531" y="2073"/>
                  </a:lnTo>
                  <a:lnTo>
                    <a:pt x="2562" y="2104"/>
                  </a:lnTo>
                  <a:lnTo>
                    <a:pt x="2599" y="2131"/>
                  </a:lnTo>
                  <a:lnTo>
                    <a:pt x="2640" y="2151"/>
                  </a:lnTo>
                  <a:lnTo>
                    <a:pt x="2685" y="2162"/>
                  </a:lnTo>
                  <a:lnTo>
                    <a:pt x="2730" y="2166"/>
                  </a:lnTo>
                  <a:lnTo>
                    <a:pt x="2776" y="2162"/>
                  </a:lnTo>
                  <a:lnTo>
                    <a:pt x="2823" y="2151"/>
                  </a:lnTo>
                  <a:lnTo>
                    <a:pt x="2866" y="2131"/>
                  </a:lnTo>
                  <a:lnTo>
                    <a:pt x="2905" y="2104"/>
                  </a:lnTo>
                  <a:lnTo>
                    <a:pt x="2938" y="2073"/>
                  </a:lnTo>
                  <a:lnTo>
                    <a:pt x="2964" y="2034"/>
                  </a:lnTo>
                  <a:lnTo>
                    <a:pt x="2983" y="1993"/>
                  </a:lnTo>
                  <a:lnTo>
                    <a:pt x="2995" y="1950"/>
                  </a:lnTo>
                  <a:lnTo>
                    <a:pt x="3001" y="1903"/>
                  </a:lnTo>
                  <a:lnTo>
                    <a:pt x="2997" y="1858"/>
                  </a:lnTo>
                  <a:lnTo>
                    <a:pt x="2985" y="1811"/>
                  </a:lnTo>
                  <a:lnTo>
                    <a:pt x="2964" y="1766"/>
                  </a:lnTo>
                  <a:lnTo>
                    <a:pt x="2936" y="1729"/>
                  </a:lnTo>
                  <a:lnTo>
                    <a:pt x="2905" y="1696"/>
                  </a:lnTo>
                  <a:lnTo>
                    <a:pt x="2868" y="1671"/>
                  </a:lnTo>
                  <a:lnTo>
                    <a:pt x="2827" y="1651"/>
                  </a:lnTo>
                  <a:lnTo>
                    <a:pt x="2782" y="1640"/>
                  </a:lnTo>
                  <a:lnTo>
                    <a:pt x="2737" y="1634"/>
                  </a:lnTo>
                  <a:close/>
                  <a:moveTo>
                    <a:pt x="4143" y="1375"/>
                  </a:moveTo>
                  <a:lnTo>
                    <a:pt x="4059" y="1380"/>
                  </a:lnTo>
                  <a:lnTo>
                    <a:pt x="3977" y="1394"/>
                  </a:lnTo>
                  <a:lnTo>
                    <a:pt x="3894" y="1419"/>
                  </a:lnTo>
                  <a:lnTo>
                    <a:pt x="3814" y="1453"/>
                  </a:lnTo>
                  <a:lnTo>
                    <a:pt x="3741" y="1494"/>
                  </a:lnTo>
                  <a:lnTo>
                    <a:pt x="3673" y="1542"/>
                  </a:lnTo>
                  <a:lnTo>
                    <a:pt x="3613" y="1599"/>
                  </a:lnTo>
                  <a:lnTo>
                    <a:pt x="3560" y="1661"/>
                  </a:lnTo>
                  <a:lnTo>
                    <a:pt x="3513" y="1727"/>
                  </a:lnTo>
                  <a:lnTo>
                    <a:pt x="3474" y="1798"/>
                  </a:lnTo>
                  <a:lnTo>
                    <a:pt x="3445" y="1874"/>
                  </a:lnTo>
                  <a:lnTo>
                    <a:pt x="3422" y="1952"/>
                  </a:lnTo>
                  <a:lnTo>
                    <a:pt x="3408" y="2032"/>
                  </a:lnTo>
                  <a:lnTo>
                    <a:pt x="3404" y="2114"/>
                  </a:lnTo>
                  <a:lnTo>
                    <a:pt x="3408" y="2197"/>
                  </a:lnTo>
                  <a:lnTo>
                    <a:pt x="3424" y="2279"/>
                  </a:lnTo>
                  <a:lnTo>
                    <a:pt x="3447" y="2363"/>
                  </a:lnTo>
                  <a:lnTo>
                    <a:pt x="3480" y="2441"/>
                  </a:lnTo>
                  <a:lnTo>
                    <a:pt x="3523" y="2515"/>
                  </a:lnTo>
                  <a:lnTo>
                    <a:pt x="3572" y="2581"/>
                  </a:lnTo>
                  <a:lnTo>
                    <a:pt x="3628" y="2642"/>
                  </a:lnTo>
                  <a:lnTo>
                    <a:pt x="3689" y="2696"/>
                  </a:lnTo>
                  <a:lnTo>
                    <a:pt x="3755" y="2743"/>
                  </a:lnTo>
                  <a:lnTo>
                    <a:pt x="3827" y="2780"/>
                  </a:lnTo>
                  <a:lnTo>
                    <a:pt x="3901" y="2811"/>
                  </a:lnTo>
                  <a:lnTo>
                    <a:pt x="3979" y="2833"/>
                  </a:lnTo>
                  <a:lnTo>
                    <a:pt x="4059" y="2847"/>
                  </a:lnTo>
                  <a:lnTo>
                    <a:pt x="4143" y="2852"/>
                  </a:lnTo>
                  <a:lnTo>
                    <a:pt x="4225" y="2847"/>
                  </a:lnTo>
                  <a:lnTo>
                    <a:pt x="4309" y="2833"/>
                  </a:lnTo>
                  <a:lnTo>
                    <a:pt x="4391" y="2810"/>
                  </a:lnTo>
                  <a:lnTo>
                    <a:pt x="4471" y="2774"/>
                  </a:lnTo>
                  <a:lnTo>
                    <a:pt x="4545" y="2734"/>
                  </a:lnTo>
                  <a:lnTo>
                    <a:pt x="4611" y="2685"/>
                  </a:lnTo>
                  <a:lnTo>
                    <a:pt x="4671" y="2628"/>
                  </a:lnTo>
                  <a:lnTo>
                    <a:pt x="4724" y="2568"/>
                  </a:lnTo>
                  <a:lnTo>
                    <a:pt x="4771" y="2500"/>
                  </a:lnTo>
                  <a:lnTo>
                    <a:pt x="4810" y="2429"/>
                  </a:lnTo>
                  <a:lnTo>
                    <a:pt x="4841" y="2355"/>
                  </a:lnTo>
                  <a:lnTo>
                    <a:pt x="4863" y="2277"/>
                  </a:lnTo>
                  <a:lnTo>
                    <a:pt x="4876" y="2195"/>
                  </a:lnTo>
                  <a:lnTo>
                    <a:pt x="4880" y="2114"/>
                  </a:lnTo>
                  <a:lnTo>
                    <a:pt x="4876" y="2032"/>
                  </a:lnTo>
                  <a:lnTo>
                    <a:pt x="4863" y="1948"/>
                  </a:lnTo>
                  <a:lnTo>
                    <a:pt x="4837" y="1866"/>
                  </a:lnTo>
                  <a:lnTo>
                    <a:pt x="4804" y="1786"/>
                  </a:lnTo>
                  <a:lnTo>
                    <a:pt x="4761" y="1712"/>
                  </a:lnTo>
                  <a:lnTo>
                    <a:pt x="4712" y="1646"/>
                  </a:lnTo>
                  <a:lnTo>
                    <a:pt x="4658" y="1585"/>
                  </a:lnTo>
                  <a:lnTo>
                    <a:pt x="4595" y="1531"/>
                  </a:lnTo>
                  <a:lnTo>
                    <a:pt x="4529" y="1486"/>
                  </a:lnTo>
                  <a:lnTo>
                    <a:pt x="4459" y="1447"/>
                  </a:lnTo>
                  <a:lnTo>
                    <a:pt x="4383" y="1416"/>
                  </a:lnTo>
                  <a:lnTo>
                    <a:pt x="4305" y="1394"/>
                  </a:lnTo>
                  <a:lnTo>
                    <a:pt x="4225" y="1380"/>
                  </a:lnTo>
                  <a:lnTo>
                    <a:pt x="4143" y="1375"/>
                  </a:lnTo>
                  <a:close/>
                  <a:moveTo>
                    <a:pt x="3012" y="0"/>
                  </a:moveTo>
                  <a:lnTo>
                    <a:pt x="3047" y="88"/>
                  </a:lnTo>
                  <a:lnTo>
                    <a:pt x="3082" y="183"/>
                  </a:lnTo>
                  <a:lnTo>
                    <a:pt x="3120" y="289"/>
                  </a:lnTo>
                  <a:lnTo>
                    <a:pt x="3157" y="404"/>
                  </a:lnTo>
                  <a:lnTo>
                    <a:pt x="3198" y="526"/>
                  </a:lnTo>
                  <a:lnTo>
                    <a:pt x="3215" y="526"/>
                  </a:lnTo>
                  <a:lnTo>
                    <a:pt x="3389" y="532"/>
                  </a:lnTo>
                  <a:lnTo>
                    <a:pt x="3435" y="409"/>
                  </a:lnTo>
                  <a:lnTo>
                    <a:pt x="3478" y="298"/>
                  </a:lnTo>
                  <a:lnTo>
                    <a:pt x="3521" y="195"/>
                  </a:lnTo>
                  <a:lnTo>
                    <a:pt x="3562" y="101"/>
                  </a:lnTo>
                  <a:lnTo>
                    <a:pt x="3601" y="16"/>
                  </a:lnTo>
                  <a:lnTo>
                    <a:pt x="3741" y="37"/>
                  </a:lnTo>
                  <a:lnTo>
                    <a:pt x="3880" y="62"/>
                  </a:lnTo>
                  <a:lnTo>
                    <a:pt x="4016" y="94"/>
                  </a:lnTo>
                  <a:lnTo>
                    <a:pt x="4022" y="187"/>
                  </a:lnTo>
                  <a:lnTo>
                    <a:pt x="4026" y="289"/>
                  </a:lnTo>
                  <a:lnTo>
                    <a:pt x="4030" y="400"/>
                  </a:lnTo>
                  <a:lnTo>
                    <a:pt x="4030" y="521"/>
                  </a:lnTo>
                  <a:lnTo>
                    <a:pt x="4030" y="651"/>
                  </a:lnTo>
                  <a:lnTo>
                    <a:pt x="4120" y="682"/>
                  </a:lnTo>
                  <a:lnTo>
                    <a:pt x="4209" y="716"/>
                  </a:lnTo>
                  <a:lnTo>
                    <a:pt x="4291" y="614"/>
                  </a:lnTo>
                  <a:lnTo>
                    <a:pt x="4369" y="521"/>
                  </a:lnTo>
                  <a:lnTo>
                    <a:pt x="4441" y="437"/>
                  </a:lnTo>
                  <a:lnTo>
                    <a:pt x="4510" y="361"/>
                  </a:lnTo>
                  <a:lnTo>
                    <a:pt x="4572" y="293"/>
                  </a:lnTo>
                  <a:lnTo>
                    <a:pt x="4699" y="355"/>
                  </a:lnTo>
                  <a:lnTo>
                    <a:pt x="4822" y="421"/>
                  </a:lnTo>
                  <a:lnTo>
                    <a:pt x="4942" y="493"/>
                  </a:lnTo>
                  <a:lnTo>
                    <a:pt x="4919" y="585"/>
                  </a:lnTo>
                  <a:lnTo>
                    <a:pt x="4892" y="682"/>
                  </a:lnTo>
                  <a:lnTo>
                    <a:pt x="4861" y="790"/>
                  </a:lnTo>
                  <a:lnTo>
                    <a:pt x="4824" y="905"/>
                  </a:lnTo>
                  <a:lnTo>
                    <a:pt x="4783" y="1028"/>
                  </a:lnTo>
                  <a:lnTo>
                    <a:pt x="4859" y="1086"/>
                  </a:lnTo>
                  <a:lnTo>
                    <a:pt x="4935" y="1145"/>
                  </a:lnTo>
                  <a:lnTo>
                    <a:pt x="5042" y="1074"/>
                  </a:lnTo>
                  <a:lnTo>
                    <a:pt x="5145" y="1010"/>
                  </a:lnTo>
                  <a:lnTo>
                    <a:pt x="5239" y="951"/>
                  </a:lnTo>
                  <a:lnTo>
                    <a:pt x="5329" y="899"/>
                  </a:lnTo>
                  <a:lnTo>
                    <a:pt x="5410" y="854"/>
                  </a:lnTo>
                  <a:lnTo>
                    <a:pt x="5510" y="951"/>
                  </a:lnTo>
                  <a:lnTo>
                    <a:pt x="5607" y="1055"/>
                  </a:lnTo>
                  <a:lnTo>
                    <a:pt x="5699" y="1160"/>
                  </a:lnTo>
                  <a:lnTo>
                    <a:pt x="5650" y="1240"/>
                  </a:lnTo>
                  <a:lnTo>
                    <a:pt x="5594" y="1324"/>
                  </a:lnTo>
                  <a:lnTo>
                    <a:pt x="5529" y="1416"/>
                  </a:lnTo>
                  <a:lnTo>
                    <a:pt x="5459" y="1515"/>
                  </a:lnTo>
                  <a:lnTo>
                    <a:pt x="5381" y="1618"/>
                  </a:lnTo>
                  <a:lnTo>
                    <a:pt x="5438" y="1696"/>
                  </a:lnTo>
                  <a:lnTo>
                    <a:pt x="5490" y="1778"/>
                  </a:lnTo>
                  <a:lnTo>
                    <a:pt x="5615" y="1743"/>
                  </a:lnTo>
                  <a:lnTo>
                    <a:pt x="5732" y="1714"/>
                  </a:lnTo>
                  <a:lnTo>
                    <a:pt x="5841" y="1687"/>
                  </a:lnTo>
                  <a:lnTo>
                    <a:pt x="5941" y="1665"/>
                  </a:lnTo>
                  <a:lnTo>
                    <a:pt x="6032" y="1648"/>
                  </a:lnTo>
                  <a:lnTo>
                    <a:pt x="6099" y="1770"/>
                  </a:lnTo>
                  <a:lnTo>
                    <a:pt x="6159" y="1897"/>
                  </a:lnTo>
                  <a:lnTo>
                    <a:pt x="6214" y="2028"/>
                  </a:lnTo>
                  <a:lnTo>
                    <a:pt x="6142" y="2088"/>
                  </a:lnTo>
                  <a:lnTo>
                    <a:pt x="6062" y="2151"/>
                  </a:lnTo>
                  <a:lnTo>
                    <a:pt x="5974" y="2219"/>
                  </a:lnTo>
                  <a:lnTo>
                    <a:pt x="5876" y="2291"/>
                  </a:lnTo>
                  <a:lnTo>
                    <a:pt x="5771" y="2367"/>
                  </a:lnTo>
                  <a:lnTo>
                    <a:pt x="5798" y="2457"/>
                  </a:lnTo>
                  <a:lnTo>
                    <a:pt x="5824" y="2550"/>
                  </a:lnTo>
                  <a:lnTo>
                    <a:pt x="5954" y="2556"/>
                  </a:lnTo>
                  <a:lnTo>
                    <a:pt x="6075" y="2564"/>
                  </a:lnTo>
                  <a:lnTo>
                    <a:pt x="6186" y="2574"/>
                  </a:lnTo>
                  <a:lnTo>
                    <a:pt x="6288" y="2583"/>
                  </a:lnTo>
                  <a:lnTo>
                    <a:pt x="6379" y="2595"/>
                  </a:lnTo>
                  <a:lnTo>
                    <a:pt x="6405" y="2732"/>
                  </a:lnTo>
                  <a:lnTo>
                    <a:pt x="6422" y="2872"/>
                  </a:lnTo>
                  <a:lnTo>
                    <a:pt x="6434" y="3012"/>
                  </a:lnTo>
                  <a:lnTo>
                    <a:pt x="6346" y="3047"/>
                  </a:lnTo>
                  <a:lnTo>
                    <a:pt x="6251" y="3082"/>
                  </a:lnTo>
                  <a:lnTo>
                    <a:pt x="6145" y="3120"/>
                  </a:lnTo>
                  <a:lnTo>
                    <a:pt x="6030" y="3159"/>
                  </a:lnTo>
                  <a:lnTo>
                    <a:pt x="5908" y="3198"/>
                  </a:lnTo>
                  <a:lnTo>
                    <a:pt x="5908" y="3217"/>
                  </a:lnTo>
                  <a:lnTo>
                    <a:pt x="5902" y="3389"/>
                  </a:lnTo>
                  <a:lnTo>
                    <a:pt x="6025" y="3435"/>
                  </a:lnTo>
                  <a:lnTo>
                    <a:pt x="6136" y="3478"/>
                  </a:lnTo>
                  <a:lnTo>
                    <a:pt x="6239" y="3521"/>
                  </a:lnTo>
                  <a:lnTo>
                    <a:pt x="6333" y="3562"/>
                  </a:lnTo>
                  <a:lnTo>
                    <a:pt x="6418" y="3601"/>
                  </a:lnTo>
                  <a:lnTo>
                    <a:pt x="6397" y="3741"/>
                  </a:lnTo>
                  <a:lnTo>
                    <a:pt x="6372" y="3880"/>
                  </a:lnTo>
                  <a:lnTo>
                    <a:pt x="6340" y="4016"/>
                  </a:lnTo>
                  <a:lnTo>
                    <a:pt x="6247" y="4022"/>
                  </a:lnTo>
                  <a:lnTo>
                    <a:pt x="6145" y="4026"/>
                  </a:lnTo>
                  <a:lnTo>
                    <a:pt x="6034" y="4030"/>
                  </a:lnTo>
                  <a:lnTo>
                    <a:pt x="5913" y="4030"/>
                  </a:lnTo>
                  <a:lnTo>
                    <a:pt x="5783" y="4030"/>
                  </a:lnTo>
                  <a:lnTo>
                    <a:pt x="5752" y="4120"/>
                  </a:lnTo>
                  <a:lnTo>
                    <a:pt x="5718" y="4209"/>
                  </a:lnTo>
                  <a:lnTo>
                    <a:pt x="5820" y="4291"/>
                  </a:lnTo>
                  <a:lnTo>
                    <a:pt x="5913" y="4369"/>
                  </a:lnTo>
                  <a:lnTo>
                    <a:pt x="5997" y="4441"/>
                  </a:lnTo>
                  <a:lnTo>
                    <a:pt x="6073" y="4510"/>
                  </a:lnTo>
                  <a:lnTo>
                    <a:pt x="6142" y="4572"/>
                  </a:lnTo>
                  <a:lnTo>
                    <a:pt x="6079" y="4699"/>
                  </a:lnTo>
                  <a:lnTo>
                    <a:pt x="6013" y="4824"/>
                  </a:lnTo>
                  <a:lnTo>
                    <a:pt x="5941" y="4942"/>
                  </a:lnTo>
                  <a:lnTo>
                    <a:pt x="5849" y="4919"/>
                  </a:lnTo>
                  <a:lnTo>
                    <a:pt x="5752" y="4892"/>
                  </a:lnTo>
                  <a:lnTo>
                    <a:pt x="5644" y="4861"/>
                  </a:lnTo>
                  <a:lnTo>
                    <a:pt x="5529" y="4824"/>
                  </a:lnTo>
                  <a:lnTo>
                    <a:pt x="5407" y="4783"/>
                  </a:lnTo>
                  <a:lnTo>
                    <a:pt x="5348" y="4859"/>
                  </a:lnTo>
                  <a:lnTo>
                    <a:pt x="5290" y="4935"/>
                  </a:lnTo>
                  <a:lnTo>
                    <a:pt x="5360" y="5042"/>
                  </a:lnTo>
                  <a:lnTo>
                    <a:pt x="5424" y="5145"/>
                  </a:lnTo>
                  <a:lnTo>
                    <a:pt x="5483" y="5239"/>
                  </a:lnTo>
                  <a:lnTo>
                    <a:pt x="5535" y="5329"/>
                  </a:lnTo>
                  <a:lnTo>
                    <a:pt x="5580" y="5410"/>
                  </a:lnTo>
                  <a:lnTo>
                    <a:pt x="5483" y="5510"/>
                  </a:lnTo>
                  <a:lnTo>
                    <a:pt x="5379" y="5607"/>
                  </a:lnTo>
                  <a:lnTo>
                    <a:pt x="5274" y="5699"/>
                  </a:lnTo>
                  <a:lnTo>
                    <a:pt x="5194" y="5650"/>
                  </a:lnTo>
                  <a:lnTo>
                    <a:pt x="5110" y="5594"/>
                  </a:lnTo>
                  <a:lnTo>
                    <a:pt x="5019" y="5529"/>
                  </a:lnTo>
                  <a:lnTo>
                    <a:pt x="4919" y="5459"/>
                  </a:lnTo>
                  <a:lnTo>
                    <a:pt x="4816" y="5381"/>
                  </a:lnTo>
                  <a:lnTo>
                    <a:pt x="4738" y="5438"/>
                  </a:lnTo>
                  <a:lnTo>
                    <a:pt x="4656" y="5490"/>
                  </a:lnTo>
                  <a:lnTo>
                    <a:pt x="4691" y="5615"/>
                  </a:lnTo>
                  <a:lnTo>
                    <a:pt x="4720" y="5732"/>
                  </a:lnTo>
                  <a:lnTo>
                    <a:pt x="4748" y="5841"/>
                  </a:lnTo>
                  <a:lnTo>
                    <a:pt x="4769" y="5941"/>
                  </a:lnTo>
                  <a:lnTo>
                    <a:pt x="4787" y="6032"/>
                  </a:lnTo>
                  <a:lnTo>
                    <a:pt x="4664" y="6099"/>
                  </a:lnTo>
                  <a:lnTo>
                    <a:pt x="4537" y="6159"/>
                  </a:lnTo>
                  <a:lnTo>
                    <a:pt x="4406" y="6214"/>
                  </a:lnTo>
                  <a:lnTo>
                    <a:pt x="4346" y="6142"/>
                  </a:lnTo>
                  <a:lnTo>
                    <a:pt x="4284" y="6062"/>
                  </a:lnTo>
                  <a:lnTo>
                    <a:pt x="4215" y="5974"/>
                  </a:lnTo>
                  <a:lnTo>
                    <a:pt x="4143" y="5876"/>
                  </a:lnTo>
                  <a:lnTo>
                    <a:pt x="4067" y="5771"/>
                  </a:lnTo>
                  <a:lnTo>
                    <a:pt x="3977" y="5798"/>
                  </a:lnTo>
                  <a:lnTo>
                    <a:pt x="3884" y="5824"/>
                  </a:lnTo>
                  <a:lnTo>
                    <a:pt x="3878" y="5954"/>
                  </a:lnTo>
                  <a:lnTo>
                    <a:pt x="3870" y="6075"/>
                  </a:lnTo>
                  <a:lnTo>
                    <a:pt x="3860" y="6186"/>
                  </a:lnTo>
                  <a:lnTo>
                    <a:pt x="3851" y="6288"/>
                  </a:lnTo>
                  <a:lnTo>
                    <a:pt x="3839" y="6379"/>
                  </a:lnTo>
                  <a:lnTo>
                    <a:pt x="3702" y="6405"/>
                  </a:lnTo>
                  <a:lnTo>
                    <a:pt x="3562" y="6422"/>
                  </a:lnTo>
                  <a:lnTo>
                    <a:pt x="3422" y="6434"/>
                  </a:lnTo>
                  <a:lnTo>
                    <a:pt x="3387" y="6348"/>
                  </a:lnTo>
                  <a:lnTo>
                    <a:pt x="3352" y="6251"/>
                  </a:lnTo>
                  <a:lnTo>
                    <a:pt x="3315" y="6145"/>
                  </a:lnTo>
                  <a:lnTo>
                    <a:pt x="3276" y="6032"/>
                  </a:lnTo>
                  <a:lnTo>
                    <a:pt x="3237" y="5908"/>
                  </a:lnTo>
                  <a:lnTo>
                    <a:pt x="3215" y="5908"/>
                  </a:lnTo>
                  <a:lnTo>
                    <a:pt x="3045" y="5902"/>
                  </a:lnTo>
                  <a:lnTo>
                    <a:pt x="2999" y="6025"/>
                  </a:lnTo>
                  <a:lnTo>
                    <a:pt x="2956" y="6136"/>
                  </a:lnTo>
                  <a:lnTo>
                    <a:pt x="2913" y="6239"/>
                  </a:lnTo>
                  <a:lnTo>
                    <a:pt x="2872" y="6333"/>
                  </a:lnTo>
                  <a:lnTo>
                    <a:pt x="2833" y="6418"/>
                  </a:lnTo>
                  <a:lnTo>
                    <a:pt x="2693" y="6397"/>
                  </a:lnTo>
                  <a:lnTo>
                    <a:pt x="2554" y="6372"/>
                  </a:lnTo>
                  <a:lnTo>
                    <a:pt x="2418" y="6340"/>
                  </a:lnTo>
                  <a:lnTo>
                    <a:pt x="2412" y="6247"/>
                  </a:lnTo>
                  <a:lnTo>
                    <a:pt x="2408" y="6145"/>
                  </a:lnTo>
                  <a:lnTo>
                    <a:pt x="2404" y="6034"/>
                  </a:lnTo>
                  <a:lnTo>
                    <a:pt x="2404" y="5913"/>
                  </a:lnTo>
                  <a:lnTo>
                    <a:pt x="2404" y="5783"/>
                  </a:lnTo>
                  <a:lnTo>
                    <a:pt x="2314" y="5752"/>
                  </a:lnTo>
                  <a:lnTo>
                    <a:pt x="2225" y="5718"/>
                  </a:lnTo>
                  <a:lnTo>
                    <a:pt x="2143" y="5820"/>
                  </a:lnTo>
                  <a:lnTo>
                    <a:pt x="2065" y="5913"/>
                  </a:lnTo>
                  <a:lnTo>
                    <a:pt x="1993" y="5997"/>
                  </a:lnTo>
                  <a:lnTo>
                    <a:pt x="1924" y="6073"/>
                  </a:lnTo>
                  <a:lnTo>
                    <a:pt x="1862" y="6142"/>
                  </a:lnTo>
                  <a:lnTo>
                    <a:pt x="1735" y="6081"/>
                  </a:lnTo>
                  <a:lnTo>
                    <a:pt x="1610" y="6013"/>
                  </a:lnTo>
                  <a:lnTo>
                    <a:pt x="1492" y="5941"/>
                  </a:lnTo>
                  <a:lnTo>
                    <a:pt x="1515" y="5849"/>
                  </a:lnTo>
                  <a:lnTo>
                    <a:pt x="1542" y="5752"/>
                  </a:lnTo>
                  <a:lnTo>
                    <a:pt x="1573" y="5644"/>
                  </a:lnTo>
                  <a:lnTo>
                    <a:pt x="1610" y="5529"/>
                  </a:lnTo>
                  <a:lnTo>
                    <a:pt x="1651" y="5407"/>
                  </a:lnTo>
                  <a:lnTo>
                    <a:pt x="1575" y="5348"/>
                  </a:lnTo>
                  <a:lnTo>
                    <a:pt x="1499" y="5290"/>
                  </a:lnTo>
                  <a:lnTo>
                    <a:pt x="1392" y="5360"/>
                  </a:lnTo>
                  <a:lnTo>
                    <a:pt x="1289" y="5424"/>
                  </a:lnTo>
                  <a:lnTo>
                    <a:pt x="1195" y="5483"/>
                  </a:lnTo>
                  <a:lnTo>
                    <a:pt x="1106" y="5535"/>
                  </a:lnTo>
                  <a:lnTo>
                    <a:pt x="1024" y="5580"/>
                  </a:lnTo>
                  <a:lnTo>
                    <a:pt x="924" y="5483"/>
                  </a:lnTo>
                  <a:lnTo>
                    <a:pt x="827" y="5379"/>
                  </a:lnTo>
                  <a:lnTo>
                    <a:pt x="735" y="5274"/>
                  </a:lnTo>
                  <a:lnTo>
                    <a:pt x="784" y="5194"/>
                  </a:lnTo>
                  <a:lnTo>
                    <a:pt x="840" y="5110"/>
                  </a:lnTo>
                  <a:lnTo>
                    <a:pt x="905" y="5019"/>
                  </a:lnTo>
                  <a:lnTo>
                    <a:pt x="975" y="4919"/>
                  </a:lnTo>
                  <a:lnTo>
                    <a:pt x="1053" y="4816"/>
                  </a:lnTo>
                  <a:lnTo>
                    <a:pt x="996" y="4738"/>
                  </a:lnTo>
                  <a:lnTo>
                    <a:pt x="944" y="4656"/>
                  </a:lnTo>
                  <a:lnTo>
                    <a:pt x="819" y="4691"/>
                  </a:lnTo>
                  <a:lnTo>
                    <a:pt x="702" y="4720"/>
                  </a:lnTo>
                  <a:lnTo>
                    <a:pt x="593" y="4748"/>
                  </a:lnTo>
                  <a:lnTo>
                    <a:pt x="493" y="4769"/>
                  </a:lnTo>
                  <a:lnTo>
                    <a:pt x="402" y="4787"/>
                  </a:lnTo>
                  <a:lnTo>
                    <a:pt x="335" y="4664"/>
                  </a:lnTo>
                  <a:lnTo>
                    <a:pt x="275" y="4537"/>
                  </a:lnTo>
                  <a:lnTo>
                    <a:pt x="220" y="4406"/>
                  </a:lnTo>
                  <a:lnTo>
                    <a:pt x="293" y="4346"/>
                  </a:lnTo>
                  <a:lnTo>
                    <a:pt x="372" y="4284"/>
                  </a:lnTo>
                  <a:lnTo>
                    <a:pt x="460" y="4215"/>
                  </a:lnTo>
                  <a:lnTo>
                    <a:pt x="558" y="4143"/>
                  </a:lnTo>
                  <a:lnTo>
                    <a:pt x="663" y="4069"/>
                  </a:lnTo>
                  <a:lnTo>
                    <a:pt x="636" y="3977"/>
                  </a:lnTo>
                  <a:lnTo>
                    <a:pt x="610" y="3884"/>
                  </a:lnTo>
                  <a:lnTo>
                    <a:pt x="480" y="3878"/>
                  </a:lnTo>
                  <a:lnTo>
                    <a:pt x="359" y="3870"/>
                  </a:lnTo>
                  <a:lnTo>
                    <a:pt x="248" y="3860"/>
                  </a:lnTo>
                  <a:lnTo>
                    <a:pt x="146" y="3851"/>
                  </a:lnTo>
                  <a:lnTo>
                    <a:pt x="55" y="3841"/>
                  </a:lnTo>
                  <a:lnTo>
                    <a:pt x="29" y="3702"/>
                  </a:lnTo>
                  <a:lnTo>
                    <a:pt x="12" y="3562"/>
                  </a:lnTo>
                  <a:lnTo>
                    <a:pt x="0" y="3422"/>
                  </a:lnTo>
                  <a:lnTo>
                    <a:pt x="86" y="3387"/>
                  </a:lnTo>
                  <a:lnTo>
                    <a:pt x="183" y="3352"/>
                  </a:lnTo>
                  <a:lnTo>
                    <a:pt x="289" y="3315"/>
                  </a:lnTo>
                  <a:lnTo>
                    <a:pt x="402" y="3277"/>
                  </a:lnTo>
                  <a:lnTo>
                    <a:pt x="526" y="3237"/>
                  </a:lnTo>
                  <a:lnTo>
                    <a:pt x="526" y="3217"/>
                  </a:lnTo>
                  <a:lnTo>
                    <a:pt x="532" y="3045"/>
                  </a:lnTo>
                  <a:lnTo>
                    <a:pt x="409" y="2999"/>
                  </a:lnTo>
                  <a:lnTo>
                    <a:pt x="298" y="2956"/>
                  </a:lnTo>
                  <a:lnTo>
                    <a:pt x="195" y="2913"/>
                  </a:lnTo>
                  <a:lnTo>
                    <a:pt x="101" y="2872"/>
                  </a:lnTo>
                  <a:lnTo>
                    <a:pt x="16" y="2833"/>
                  </a:lnTo>
                  <a:lnTo>
                    <a:pt x="37" y="2693"/>
                  </a:lnTo>
                  <a:lnTo>
                    <a:pt x="62" y="2554"/>
                  </a:lnTo>
                  <a:lnTo>
                    <a:pt x="94" y="2418"/>
                  </a:lnTo>
                  <a:lnTo>
                    <a:pt x="187" y="2412"/>
                  </a:lnTo>
                  <a:lnTo>
                    <a:pt x="289" y="2408"/>
                  </a:lnTo>
                  <a:lnTo>
                    <a:pt x="400" y="2404"/>
                  </a:lnTo>
                  <a:lnTo>
                    <a:pt x="521" y="2404"/>
                  </a:lnTo>
                  <a:lnTo>
                    <a:pt x="651" y="2404"/>
                  </a:lnTo>
                  <a:lnTo>
                    <a:pt x="682" y="2314"/>
                  </a:lnTo>
                  <a:lnTo>
                    <a:pt x="716" y="2225"/>
                  </a:lnTo>
                  <a:lnTo>
                    <a:pt x="614" y="2143"/>
                  </a:lnTo>
                  <a:lnTo>
                    <a:pt x="521" y="2065"/>
                  </a:lnTo>
                  <a:lnTo>
                    <a:pt x="437" y="1993"/>
                  </a:lnTo>
                  <a:lnTo>
                    <a:pt x="361" y="1924"/>
                  </a:lnTo>
                  <a:lnTo>
                    <a:pt x="293" y="1862"/>
                  </a:lnTo>
                  <a:lnTo>
                    <a:pt x="353" y="1735"/>
                  </a:lnTo>
                  <a:lnTo>
                    <a:pt x="421" y="1612"/>
                  </a:lnTo>
                  <a:lnTo>
                    <a:pt x="493" y="1492"/>
                  </a:lnTo>
                  <a:lnTo>
                    <a:pt x="585" y="1515"/>
                  </a:lnTo>
                  <a:lnTo>
                    <a:pt x="682" y="1542"/>
                  </a:lnTo>
                  <a:lnTo>
                    <a:pt x="790" y="1573"/>
                  </a:lnTo>
                  <a:lnTo>
                    <a:pt x="905" y="1610"/>
                  </a:lnTo>
                  <a:lnTo>
                    <a:pt x="1028" y="1651"/>
                  </a:lnTo>
                  <a:lnTo>
                    <a:pt x="1086" y="1575"/>
                  </a:lnTo>
                  <a:lnTo>
                    <a:pt x="1145" y="1499"/>
                  </a:lnTo>
                  <a:lnTo>
                    <a:pt x="1074" y="1392"/>
                  </a:lnTo>
                  <a:lnTo>
                    <a:pt x="1010" y="1289"/>
                  </a:lnTo>
                  <a:lnTo>
                    <a:pt x="951" y="1195"/>
                  </a:lnTo>
                  <a:lnTo>
                    <a:pt x="899" y="1106"/>
                  </a:lnTo>
                  <a:lnTo>
                    <a:pt x="854" y="1024"/>
                  </a:lnTo>
                  <a:lnTo>
                    <a:pt x="951" y="924"/>
                  </a:lnTo>
                  <a:lnTo>
                    <a:pt x="1055" y="827"/>
                  </a:lnTo>
                  <a:lnTo>
                    <a:pt x="1160" y="735"/>
                  </a:lnTo>
                  <a:lnTo>
                    <a:pt x="1240" y="784"/>
                  </a:lnTo>
                  <a:lnTo>
                    <a:pt x="1324" y="840"/>
                  </a:lnTo>
                  <a:lnTo>
                    <a:pt x="1416" y="905"/>
                  </a:lnTo>
                  <a:lnTo>
                    <a:pt x="1515" y="975"/>
                  </a:lnTo>
                  <a:lnTo>
                    <a:pt x="1618" y="1053"/>
                  </a:lnTo>
                  <a:lnTo>
                    <a:pt x="1696" y="996"/>
                  </a:lnTo>
                  <a:lnTo>
                    <a:pt x="1778" y="944"/>
                  </a:lnTo>
                  <a:lnTo>
                    <a:pt x="1743" y="819"/>
                  </a:lnTo>
                  <a:lnTo>
                    <a:pt x="1714" y="702"/>
                  </a:lnTo>
                  <a:lnTo>
                    <a:pt x="1687" y="593"/>
                  </a:lnTo>
                  <a:lnTo>
                    <a:pt x="1665" y="493"/>
                  </a:lnTo>
                  <a:lnTo>
                    <a:pt x="1648" y="402"/>
                  </a:lnTo>
                  <a:lnTo>
                    <a:pt x="1770" y="335"/>
                  </a:lnTo>
                  <a:lnTo>
                    <a:pt x="1897" y="275"/>
                  </a:lnTo>
                  <a:lnTo>
                    <a:pt x="2028" y="220"/>
                  </a:lnTo>
                  <a:lnTo>
                    <a:pt x="2088" y="293"/>
                  </a:lnTo>
                  <a:lnTo>
                    <a:pt x="2151" y="372"/>
                  </a:lnTo>
                  <a:lnTo>
                    <a:pt x="2219" y="460"/>
                  </a:lnTo>
                  <a:lnTo>
                    <a:pt x="2291" y="558"/>
                  </a:lnTo>
                  <a:lnTo>
                    <a:pt x="2365" y="663"/>
                  </a:lnTo>
                  <a:lnTo>
                    <a:pt x="2457" y="636"/>
                  </a:lnTo>
                  <a:lnTo>
                    <a:pt x="2550" y="610"/>
                  </a:lnTo>
                  <a:lnTo>
                    <a:pt x="2556" y="480"/>
                  </a:lnTo>
                  <a:lnTo>
                    <a:pt x="2564" y="359"/>
                  </a:lnTo>
                  <a:lnTo>
                    <a:pt x="2574" y="248"/>
                  </a:lnTo>
                  <a:lnTo>
                    <a:pt x="2583" y="146"/>
                  </a:lnTo>
                  <a:lnTo>
                    <a:pt x="2593" y="55"/>
                  </a:lnTo>
                  <a:lnTo>
                    <a:pt x="2732" y="29"/>
                  </a:lnTo>
                  <a:lnTo>
                    <a:pt x="2872" y="12"/>
                  </a:lnTo>
                  <a:lnTo>
                    <a:pt x="3012" y="0"/>
                  </a:lnTo>
                  <a:close/>
                </a:path>
              </a:pathLst>
            </a:custGeom>
            <a:solidFill>
              <a:srgbClr val="007233"/>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88" name="Donut 59"/>
            <p:cNvSpPr>
              <a:spLocks noChangeAspect="1"/>
            </p:cNvSpPr>
            <p:nvPr/>
          </p:nvSpPr>
          <p:spPr bwMode="auto">
            <a:xfrm>
              <a:off x="23735" y="5045744"/>
              <a:ext cx="547219" cy="594449"/>
            </a:xfrm>
            <a:custGeom>
              <a:avLst/>
              <a:gdLst/>
              <a:ahLst/>
              <a:cxnLst/>
              <a:rect l="l" t="t" r="r" b="b"/>
              <a:pathLst>
                <a:path w="3409950" h="3705225">
                  <a:moveTo>
                    <a:pt x="1678275" y="1464104"/>
                  </a:moveTo>
                  <a:cubicBezTo>
                    <a:pt x="1863395" y="1464104"/>
                    <a:pt x="2013464" y="1614173"/>
                    <a:pt x="2013464" y="1799293"/>
                  </a:cubicBezTo>
                  <a:cubicBezTo>
                    <a:pt x="2013464" y="1984413"/>
                    <a:pt x="1863395" y="2134482"/>
                    <a:pt x="1678275" y="2134482"/>
                  </a:cubicBezTo>
                  <a:cubicBezTo>
                    <a:pt x="1493155" y="2134482"/>
                    <a:pt x="1343086" y="1984413"/>
                    <a:pt x="1343086" y="1799293"/>
                  </a:cubicBezTo>
                  <a:cubicBezTo>
                    <a:pt x="1343086" y="1614173"/>
                    <a:pt x="1493155" y="1464104"/>
                    <a:pt x="1678275" y="1464104"/>
                  </a:cubicBezTo>
                  <a:close/>
                  <a:moveTo>
                    <a:pt x="1678275" y="1128915"/>
                  </a:moveTo>
                  <a:cubicBezTo>
                    <a:pt x="1308035" y="1128915"/>
                    <a:pt x="1007897" y="1429053"/>
                    <a:pt x="1007897" y="1799293"/>
                  </a:cubicBezTo>
                  <a:cubicBezTo>
                    <a:pt x="1007897" y="2169533"/>
                    <a:pt x="1308035" y="2469671"/>
                    <a:pt x="1678275" y="2469671"/>
                  </a:cubicBezTo>
                  <a:cubicBezTo>
                    <a:pt x="2048515" y="2469671"/>
                    <a:pt x="2348653" y="2169533"/>
                    <a:pt x="2348653" y="1799293"/>
                  </a:cubicBezTo>
                  <a:cubicBezTo>
                    <a:pt x="2348653" y="1429053"/>
                    <a:pt x="2048515" y="1128915"/>
                    <a:pt x="1678275" y="1128915"/>
                  </a:cubicBezTo>
                  <a:close/>
                  <a:moveTo>
                    <a:pt x="1876425" y="0"/>
                  </a:moveTo>
                  <a:lnTo>
                    <a:pt x="1952625" y="352425"/>
                  </a:lnTo>
                  <a:lnTo>
                    <a:pt x="2314575" y="476250"/>
                  </a:lnTo>
                  <a:lnTo>
                    <a:pt x="2533650" y="238125"/>
                  </a:lnTo>
                  <a:lnTo>
                    <a:pt x="2867025" y="466725"/>
                  </a:lnTo>
                  <a:lnTo>
                    <a:pt x="2743200" y="800100"/>
                  </a:lnTo>
                  <a:lnTo>
                    <a:pt x="2924175" y="1066800"/>
                  </a:lnTo>
                  <a:lnTo>
                    <a:pt x="3295650" y="1066800"/>
                  </a:lnTo>
                  <a:lnTo>
                    <a:pt x="3409950" y="1485900"/>
                  </a:lnTo>
                  <a:lnTo>
                    <a:pt x="3152775" y="1685925"/>
                  </a:lnTo>
                  <a:lnTo>
                    <a:pt x="3152775" y="2000250"/>
                  </a:lnTo>
                  <a:lnTo>
                    <a:pt x="3390900" y="2219325"/>
                  </a:lnTo>
                  <a:lnTo>
                    <a:pt x="3305175" y="2600325"/>
                  </a:lnTo>
                  <a:lnTo>
                    <a:pt x="2895600" y="2609850"/>
                  </a:lnTo>
                  <a:lnTo>
                    <a:pt x="2752725" y="2838450"/>
                  </a:lnTo>
                  <a:lnTo>
                    <a:pt x="2838450" y="3190875"/>
                  </a:lnTo>
                  <a:lnTo>
                    <a:pt x="2533650" y="3419475"/>
                  </a:lnTo>
                  <a:lnTo>
                    <a:pt x="2257425" y="3200400"/>
                  </a:lnTo>
                  <a:lnTo>
                    <a:pt x="1952625" y="3333750"/>
                  </a:lnTo>
                  <a:lnTo>
                    <a:pt x="1885950" y="3667125"/>
                  </a:lnTo>
                  <a:lnTo>
                    <a:pt x="1495425" y="3705225"/>
                  </a:lnTo>
                  <a:lnTo>
                    <a:pt x="1400175" y="3295650"/>
                  </a:lnTo>
                  <a:lnTo>
                    <a:pt x="1085850" y="3200400"/>
                  </a:lnTo>
                  <a:lnTo>
                    <a:pt x="819150" y="3419475"/>
                  </a:lnTo>
                  <a:lnTo>
                    <a:pt x="552450" y="3181350"/>
                  </a:lnTo>
                  <a:lnTo>
                    <a:pt x="647700" y="2867025"/>
                  </a:lnTo>
                  <a:lnTo>
                    <a:pt x="447675" y="2600325"/>
                  </a:lnTo>
                  <a:lnTo>
                    <a:pt x="76200" y="2590800"/>
                  </a:lnTo>
                  <a:lnTo>
                    <a:pt x="0" y="2219325"/>
                  </a:lnTo>
                  <a:lnTo>
                    <a:pt x="295275" y="2066925"/>
                  </a:lnTo>
                  <a:lnTo>
                    <a:pt x="285750" y="1695450"/>
                  </a:lnTo>
                  <a:lnTo>
                    <a:pt x="0" y="1457325"/>
                  </a:lnTo>
                  <a:lnTo>
                    <a:pt x="104775" y="1104900"/>
                  </a:lnTo>
                  <a:lnTo>
                    <a:pt x="457200" y="1114425"/>
                  </a:lnTo>
                  <a:lnTo>
                    <a:pt x="657225" y="895350"/>
                  </a:lnTo>
                  <a:lnTo>
                    <a:pt x="533400" y="466725"/>
                  </a:lnTo>
                  <a:lnTo>
                    <a:pt x="809625" y="247650"/>
                  </a:lnTo>
                  <a:lnTo>
                    <a:pt x="1133475" y="466725"/>
                  </a:lnTo>
                  <a:lnTo>
                    <a:pt x="1400175" y="371475"/>
                  </a:lnTo>
                  <a:lnTo>
                    <a:pt x="1504950" y="9525"/>
                  </a:lnTo>
                  <a:close/>
                </a:path>
              </a:pathLst>
            </a:custGeom>
            <a:solidFill>
              <a:srgbClr val="74B2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5478" fontAlgn="base">
                <a:spcBef>
                  <a:spcPct val="0"/>
                </a:spcBef>
                <a:spcAft>
                  <a:spcPct val="0"/>
                </a:spcAft>
              </a:pPr>
              <a:endParaRPr lang="en-US" sz="1568"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9" name="Freeform 88"/>
            <p:cNvSpPr>
              <a:spLocks noChangeAspect="1" noEditPoints="1"/>
            </p:cNvSpPr>
            <p:nvPr/>
          </p:nvSpPr>
          <p:spPr bwMode="auto">
            <a:xfrm rot="903359">
              <a:off x="703403" y="5453040"/>
              <a:ext cx="407264" cy="43856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BAD80A"/>
            </a:solidFill>
            <a:ln>
              <a:noFill/>
            </a:ln>
            <a:extLst/>
          </p:spPr>
          <p:txBody>
            <a:bodyPr vert="horz" wrap="square" lIns="89642" tIns="44821" rIns="89642" bIns="44821" numCol="1" anchor="t" anchorCtr="0" compatLnSpc="1">
              <a:prstTxWarp prst="textNoShape">
                <a:avLst/>
              </a:prstTxWarp>
            </a:bodyPr>
            <a:lstStyle/>
            <a:p>
              <a:endParaRPr lang="en-US" sz="1765" dirty="0">
                <a:solidFill>
                  <a:schemeClr val="accent3"/>
                </a:solidFill>
              </a:endParaRPr>
            </a:p>
          </p:txBody>
        </p:sp>
        <p:sp>
          <p:nvSpPr>
            <p:cNvPr id="90" name="Freeform 88"/>
            <p:cNvSpPr>
              <a:spLocks noChangeAspect="1" noEditPoints="1"/>
            </p:cNvSpPr>
            <p:nvPr/>
          </p:nvSpPr>
          <p:spPr bwMode="auto">
            <a:xfrm rot="903359">
              <a:off x="-47949" y="5563653"/>
              <a:ext cx="407264" cy="43856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BAD80A"/>
            </a:solidFill>
            <a:ln>
              <a:noFill/>
            </a:ln>
            <a:extLst/>
          </p:spPr>
          <p:txBody>
            <a:bodyPr vert="horz" wrap="square" lIns="89642" tIns="44821" rIns="89642" bIns="44821" numCol="1" anchor="t" anchorCtr="0" compatLnSpc="1">
              <a:prstTxWarp prst="textNoShape">
                <a:avLst/>
              </a:prstTxWarp>
            </a:bodyPr>
            <a:lstStyle/>
            <a:p>
              <a:endParaRPr lang="en-US" sz="1765" dirty="0">
                <a:solidFill>
                  <a:schemeClr val="accent3"/>
                </a:solidFill>
              </a:endParaRPr>
            </a:p>
          </p:txBody>
        </p:sp>
      </p:grpSp>
      <p:cxnSp>
        <p:nvCxnSpPr>
          <p:cNvPr id="58" name="Elbow Connector 57"/>
          <p:cNvCxnSpPr/>
          <p:nvPr/>
        </p:nvCxnSpPr>
        <p:spPr>
          <a:xfrm>
            <a:off x="7179248" y="4158334"/>
            <a:ext cx="1077831" cy="398932"/>
          </a:xfrm>
          <a:prstGeom prst="bentConnector3">
            <a:avLst>
              <a:gd name="adj1" fmla="val 540"/>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165895" y="2285395"/>
            <a:ext cx="753810" cy="282256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defRPr/>
            </a:pPr>
            <a:r>
              <a:rPr lang="en-US" sz="1078" kern="0" dirty="0">
                <a:solidFill>
                  <a:prstClr val="white"/>
                </a:solidFill>
                <a:cs typeface="Arial" panose="020B0604020202020204" pitchFamily="34" charset="0"/>
              </a:rPr>
              <a:t>Azure Event Hubs</a:t>
            </a:r>
            <a:br>
              <a:rPr lang="en-US" sz="1078" kern="0" dirty="0">
                <a:solidFill>
                  <a:prstClr val="white"/>
                </a:solidFill>
                <a:cs typeface="Arial" panose="020B0604020202020204" pitchFamily="34" charset="0"/>
              </a:rPr>
            </a:br>
            <a:r>
              <a:rPr lang="en-US" sz="1078" kern="0" dirty="0">
                <a:solidFill>
                  <a:prstClr val="white"/>
                </a:solidFill>
                <a:cs typeface="Arial" panose="020B0604020202020204" pitchFamily="34" charset="0"/>
              </a:rPr>
              <a:t>&amp; Service Bus</a:t>
            </a:r>
          </a:p>
        </p:txBody>
      </p:sp>
      <p:sp>
        <p:nvSpPr>
          <p:cNvPr id="48" name="Rectangle 47"/>
          <p:cNvSpPr/>
          <p:nvPr/>
        </p:nvSpPr>
        <p:spPr>
          <a:xfrm>
            <a:off x="1134472" y="3061803"/>
            <a:ext cx="608667" cy="26469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gent</a:t>
            </a:r>
          </a:p>
        </p:txBody>
      </p:sp>
      <p:sp>
        <p:nvSpPr>
          <p:cNvPr id="66" name="Rectangle 65"/>
          <p:cNvSpPr/>
          <p:nvPr/>
        </p:nvSpPr>
        <p:spPr>
          <a:xfrm>
            <a:off x="2773222" y="4821038"/>
            <a:ext cx="608667" cy="26469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gent</a:t>
            </a:r>
          </a:p>
        </p:txBody>
      </p:sp>
      <p:cxnSp>
        <p:nvCxnSpPr>
          <p:cNvPr id="14" name="Elbow Connector 13"/>
          <p:cNvCxnSpPr>
            <a:stCxn id="60" idx="3"/>
            <a:endCxn id="121" idx="1"/>
          </p:cNvCxnSpPr>
          <p:nvPr/>
        </p:nvCxnSpPr>
        <p:spPr>
          <a:xfrm flipV="1">
            <a:off x="2112079" y="4651663"/>
            <a:ext cx="414904" cy="633869"/>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59" idx="3"/>
            <a:endCxn id="121" idx="1"/>
          </p:cNvCxnSpPr>
          <p:nvPr/>
        </p:nvCxnSpPr>
        <p:spPr>
          <a:xfrm>
            <a:off x="2112079" y="4131839"/>
            <a:ext cx="414904" cy="519824"/>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681555" y="4653676"/>
            <a:ext cx="310842" cy="0"/>
          </a:xfrm>
          <a:prstGeom prst="straightConnector1">
            <a:avLst/>
          </a:prstGeom>
          <a:noFill/>
          <a:ln w="38100" cap="flat" cmpd="sng" algn="ctr">
            <a:solidFill>
              <a:srgbClr val="4472C4"/>
            </a:solidFill>
            <a:prstDash val="solid"/>
            <a:miter lim="800000"/>
            <a:headEnd type="triangle" w="med" len="med"/>
            <a:tailEnd type="triangle" w="med" len="med"/>
          </a:ln>
          <a:effectLst/>
        </p:spPr>
      </p:cxnSp>
    </p:spTree>
    <p:extLst>
      <p:ext uri="{BB962C8B-B14F-4D97-AF65-F5344CB8AC3E}">
        <p14:creationId xmlns:p14="http://schemas.microsoft.com/office/powerpoint/2010/main" val="150780912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88" y="0"/>
            <a:ext cx="12188825" cy="945292"/>
          </a:xfrm>
          <a:solidFill>
            <a:srgbClr val="007DBA"/>
          </a:solidFill>
        </p:spPr>
        <p:txBody>
          <a:bodyPr vert="horz" wrap="square" lIns="1188720" tIns="0" rIns="0" bIns="0" rtlCol="0" anchor="ctr" anchorCtr="0">
            <a:noAutofit/>
          </a:bodyPr>
          <a:lstStyle/>
          <a:p>
            <a:r>
              <a:rPr lang="en-US" sz="3600" dirty="0"/>
              <a:t>The Internet of Things – Manufacturing</a:t>
            </a:r>
          </a:p>
        </p:txBody>
      </p:sp>
      <p:sp>
        <p:nvSpPr>
          <p:cNvPr id="521" name="Rectangle 520"/>
          <p:cNvSpPr/>
          <p:nvPr/>
        </p:nvSpPr>
        <p:spPr bwMode="auto">
          <a:xfrm>
            <a:off x="1588" y="0"/>
            <a:ext cx="941832" cy="9418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20" name="Group 519"/>
          <p:cNvGrpSpPr>
            <a:grpSpLocks noChangeAspect="1"/>
          </p:cNvGrpSpPr>
          <p:nvPr/>
        </p:nvGrpSpPr>
        <p:grpSpPr>
          <a:xfrm>
            <a:off x="212868" y="179810"/>
            <a:ext cx="528555" cy="606417"/>
            <a:chOff x="138052" y="51446"/>
            <a:chExt cx="773857" cy="887855"/>
          </a:xfrm>
        </p:grpSpPr>
        <p:sp>
          <p:nvSpPr>
            <p:cNvPr id="679" name="Oval 2"/>
            <p:cNvSpPr/>
            <p:nvPr/>
          </p:nvSpPr>
          <p:spPr bwMode="auto">
            <a:xfrm>
              <a:off x="138052" y="51446"/>
              <a:ext cx="773857" cy="53562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algn="ctr" defTabSz="1096919" fontAlgn="base">
                <a:spcBef>
                  <a:spcPct val="0"/>
                </a:spcBef>
                <a:spcAft>
                  <a:spcPct val="0"/>
                </a:spcAft>
              </a:pPr>
              <a:endParaRPr lang="en-US" sz="2400" spc="-6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80" name="Group 679"/>
            <p:cNvGrpSpPr/>
            <p:nvPr/>
          </p:nvGrpSpPr>
          <p:grpSpPr>
            <a:xfrm rot="5400000" flipH="1">
              <a:off x="377724" y="550220"/>
              <a:ext cx="294513" cy="483650"/>
              <a:chOff x="1962769" y="3621398"/>
              <a:chExt cx="118187" cy="194087"/>
            </a:xfrm>
            <a:solidFill>
              <a:schemeClr val="bg1"/>
            </a:solidFill>
          </p:grpSpPr>
          <p:sp>
            <p:nvSpPr>
              <p:cNvPr id="68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2"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3"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72" name="Rectangle 371"/>
          <p:cNvSpPr/>
          <p:nvPr/>
        </p:nvSpPr>
        <p:spPr bwMode="auto">
          <a:xfrm>
            <a:off x="10017076" y="1871199"/>
            <a:ext cx="1928863"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66" name="Group 1165"/>
          <p:cNvGrpSpPr/>
          <p:nvPr/>
        </p:nvGrpSpPr>
        <p:grpSpPr>
          <a:xfrm>
            <a:off x="10017075" y="3342937"/>
            <a:ext cx="1923541" cy="1626721"/>
            <a:chOff x="161401" y="1932654"/>
            <a:chExt cx="1761072" cy="1626721"/>
          </a:xfrm>
        </p:grpSpPr>
        <p:grpSp>
          <p:nvGrpSpPr>
            <p:cNvPr id="1167" name="Group 1166"/>
            <p:cNvGrpSpPr/>
            <p:nvPr/>
          </p:nvGrpSpPr>
          <p:grpSpPr>
            <a:xfrm>
              <a:off x="161401" y="3250919"/>
              <a:ext cx="1761072" cy="308456"/>
              <a:chOff x="3900492" y="3987329"/>
              <a:chExt cx="4849648" cy="308456"/>
            </a:xfrm>
          </p:grpSpPr>
          <p:sp>
            <p:nvSpPr>
              <p:cNvPr id="1172" name="Rectangle 1171"/>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3" name="Trapezoid 1172"/>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168" name="Group 1167"/>
            <p:cNvGrpSpPr/>
            <p:nvPr/>
          </p:nvGrpSpPr>
          <p:grpSpPr>
            <a:xfrm>
              <a:off x="199444" y="1932654"/>
              <a:ext cx="1691879" cy="1585516"/>
              <a:chOff x="114794" y="583668"/>
              <a:chExt cx="3534424" cy="3543633"/>
            </a:xfrm>
          </p:grpSpPr>
          <p:sp>
            <p:nvSpPr>
              <p:cNvPr id="1169" name="Rectangle 1168"/>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1"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549" name="Rectangle 548"/>
          <p:cNvSpPr/>
          <p:nvPr/>
        </p:nvSpPr>
        <p:spPr>
          <a:xfrm>
            <a:off x="10679858" y="1318992"/>
            <a:ext cx="1025171" cy="430887"/>
          </a:xfrm>
          <a:prstGeom prst="rect">
            <a:avLst/>
          </a:prstGeom>
        </p:spPr>
        <p:txBody>
          <a:bodyPr wrap="none">
            <a:spAutoFit/>
          </a:bodyPr>
          <a:lstStyle/>
          <a:p>
            <a:r>
              <a:rPr lang="en-US" sz="1100" dirty="0">
                <a:solidFill>
                  <a:srgbClr val="FFFFFF"/>
                </a:solidFill>
              </a:rPr>
              <a:t>GLOBAL </a:t>
            </a:r>
            <a:br>
              <a:rPr lang="en-US" sz="1100" dirty="0">
                <a:solidFill>
                  <a:srgbClr val="FFFFFF"/>
                </a:solidFill>
              </a:rPr>
            </a:br>
            <a:r>
              <a:rPr lang="en-US" sz="1100" dirty="0">
                <a:solidFill>
                  <a:srgbClr val="FFFFFF"/>
                </a:solidFill>
              </a:rPr>
              <a:t>OPERATIONS</a:t>
            </a:r>
          </a:p>
        </p:txBody>
      </p:sp>
      <p:cxnSp>
        <p:nvCxnSpPr>
          <p:cNvPr id="663" name="Straight Connector 662"/>
          <p:cNvCxnSpPr/>
          <p:nvPr/>
        </p:nvCxnSpPr>
        <p:spPr>
          <a:xfrm flipV="1">
            <a:off x="10435776" y="1723459"/>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72" name="Rectangle 671"/>
          <p:cNvSpPr/>
          <p:nvPr/>
        </p:nvSpPr>
        <p:spPr bwMode="auto">
          <a:xfrm>
            <a:off x="10080011" y="1425402"/>
            <a:ext cx="142786" cy="18415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3" name="Rectangle 672"/>
          <p:cNvSpPr/>
          <p:nvPr/>
        </p:nvSpPr>
        <p:spPr bwMode="auto">
          <a:xfrm>
            <a:off x="10288402" y="1451643"/>
            <a:ext cx="142786" cy="149585"/>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4" name="Rectangle 673"/>
          <p:cNvSpPr/>
          <p:nvPr/>
        </p:nvSpPr>
        <p:spPr bwMode="auto">
          <a:xfrm>
            <a:off x="10491133" y="1319427"/>
            <a:ext cx="142786" cy="29196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5" name="Rectangle 73"/>
          <p:cNvSpPr/>
          <p:nvPr/>
        </p:nvSpPr>
        <p:spPr bwMode="auto">
          <a:xfrm rot="5400000">
            <a:off x="10137831" y="1199568"/>
            <a:ext cx="443930" cy="599530"/>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2" tIns="45606" rIns="45606" bIns="91212"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0012313" y="1806644"/>
            <a:ext cx="1933625" cy="1626721"/>
            <a:chOff x="161401" y="1932654"/>
            <a:chExt cx="1761072" cy="1626721"/>
          </a:xfrm>
        </p:grpSpPr>
        <p:grpSp>
          <p:nvGrpSpPr>
            <p:cNvPr id="3" name="Group 2"/>
            <p:cNvGrpSpPr/>
            <p:nvPr/>
          </p:nvGrpSpPr>
          <p:grpSpPr>
            <a:xfrm>
              <a:off x="161401" y="3250919"/>
              <a:ext cx="1761072" cy="308456"/>
              <a:chOff x="3900492" y="3987329"/>
              <a:chExt cx="4849648" cy="308456"/>
            </a:xfrm>
          </p:grpSpPr>
          <p:sp>
            <p:nvSpPr>
              <p:cNvPr id="1160" name="Rectangle 1159"/>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1" name="Trapezoid 1160"/>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162" name="Group 1161"/>
            <p:cNvGrpSpPr/>
            <p:nvPr/>
          </p:nvGrpSpPr>
          <p:grpSpPr>
            <a:xfrm>
              <a:off x="199444" y="1932654"/>
              <a:ext cx="1691879" cy="1585516"/>
              <a:chOff x="114794" y="583668"/>
              <a:chExt cx="3534424" cy="3543633"/>
            </a:xfrm>
          </p:grpSpPr>
          <p:sp>
            <p:nvSpPr>
              <p:cNvPr id="1163" name="Rectangle 116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174" name="Group 1173"/>
          <p:cNvGrpSpPr/>
          <p:nvPr/>
        </p:nvGrpSpPr>
        <p:grpSpPr>
          <a:xfrm>
            <a:off x="10055118" y="4879231"/>
            <a:ext cx="1890821" cy="1577833"/>
            <a:chOff x="199443" y="1940338"/>
            <a:chExt cx="1691880" cy="1577833"/>
          </a:xfrm>
        </p:grpSpPr>
        <p:sp>
          <p:nvSpPr>
            <p:cNvPr id="1181" name="Trapezoid 1180"/>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76" name="Group 1175"/>
            <p:cNvGrpSpPr/>
            <p:nvPr/>
          </p:nvGrpSpPr>
          <p:grpSpPr>
            <a:xfrm>
              <a:off x="199443" y="1940338"/>
              <a:ext cx="1691880" cy="1577833"/>
              <a:chOff x="114793" y="600842"/>
              <a:chExt cx="3534425" cy="3526460"/>
            </a:xfrm>
          </p:grpSpPr>
          <p:sp>
            <p:nvSpPr>
              <p:cNvPr id="1177" name="Rectangle 1176"/>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8"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9"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6" name="Group 15"/>
          <p:cNvGrpSpPr/>
          <p:nvPr/>
        </p:nvGrpSpPr>
        <p:grpSpPr>
          <a:xfrm>
            <a:off x="10655475" y="1987733"/>
            <a:ext cx="1235843" cy="1300108"/>
            <a:chOff x="831806" y="2009918"/>
            <a:chExt cx="1002800" cy="1261872"/>
          </a:xfrm>
        </p:grpSpPr>
        <p:sp>
          <p:nvSpPr>
            <p:cNvPr id="661" name="Rectangle 660"/>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I can see my production line status and recommend adjustments to  better manage operational cost.</a:t>
              </a:r>
            </a:p>
          </p:txBody>
        </p:sp>
        <p:cxnSp>
          <p:nvCxnSpPr>
            <p:cNvPr id="662" name="Straight Connector 661"/>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 name="Group 17"/>
          <p:cNvGrpSpPr/>
          <p:nvPr/>
        </p:nvGrpSpPr>
        <p:grpSpPr>
          <a:xfrm>
            <a:off x="10655475" y="5056119"/>
            <a:ext cx="1235843" cy="1300108"/>
            <a:chOff x="831806" y="5064344"/>
            <a:chExt cx="1002800" cy="1261872"/>
          </a:xfrm>
        </p:grpSpPr>
        <p:sp>
          <p:nvSpPr>
            <p:cNvPr id="788" name="Rectangle 787"/>
            <p:cNvSpPr/>
            <p:nvPr/>
          </p:nvSpPr>
          <p:spPr bwMode="auto">
            <a:xfrm>
              <a:off x="831806" y="5064344"/>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I know when to deploy the right resources for predictive maintenance to minimize equipment failures and reduce service cost.</a:t>
              </a:r>
              <a:endParaRPr lang="en-US" sz="900" dirty="0">
                <a:ln w="3175">
                  <a:noFill/>
                </a:ln>
                <a:solidFill>
                  <a:srgbClr val="FFFFFF"/>
                </a:solidFill>
                <a:cs typeface="Arial" charset="0"/>
              </a:endParaRPr>
            </a:p>
          </p:txBody>
        </p:sp>
        <p:cxnSp>
          <p:nvCxnSpPr>
            <p:cNvPr id="789" name="Straight Connector 788"/>
            <p:cNvCxnSpPr/>
            <p:nvPr/>
          </p:nvCxnSpPr>
          <p:spPr>
            <a:xfrm flipV="1">
              <a:off x="831806" y="5064344"/>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 name="Group 16"/>
          <p:cNvGrpSpPr/>
          <p:nvPr/>
        </p:nvGrpSpPr>
        <p:grpSpPr>
          <a:xfrm>
            <a:off x="10655475" y="3526716"/>
            <a:ext cx="1235843" cy="1300108"/>
            <a:chOff x="831806" y="3541921"/>
            <a:chExt cx="1002800" cy="1261872"/>
          </a:xfrm>
        </p:grpSpPr>
        <p:sp>
          <p:nvSpPr>
            <p:cNvPr id="677" name="Rectangle 676"/>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I gain insight into usage patterns from multiple customers and track equipment deterioration, enabling me to reengineer products for better performance.</a:t>
              </a:r>
              <a:endParaRPr lang="en-US" sz="900" dirty="0">
                <a:ln w="3175">
                  <a:noFill/>
                </a:ln>
                <a:solidFill>
                  <a:srgbClr val="FFFFFF"/>
                </a:solidFill>
                <a:latin typeface="Segoe UI Light"/>
                <a:cs typeface="Arial" charset="0"/>
              </a:endParaRPr>
            </a:p>
          </p:txBody>
        </p:sp>
        <p:cxnSp>
          <p:nvCxnSpPr>
            <p:cNvPr id="678" name="Straight Connector 677"/>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 name="Group 12"/>
          <p:cNvGrpSpPr/>
          <p:nvPr/>
        </p:nvGrpSpPr>
        <p:grpSpPr>
          <a:xfrm>
            <a:off x="10208196" y="2573943"/>
            <a:ext cx="407647" cy="707372"/>
            <a:chOff x="10207721" y="2573943"/>
            <a:chExt cx="407647" cy="707372"/>
          </a:xfrm>
        </p:grpSpPr>
        <p:grpSp>
          <p:nvGrpSpPr>
            <p:cNvPr id="6" name="Group 5"/>
            <p:cNvGrpSpPr/>
            <p:nvPr/>
          </p:nvGrpSpPr>
          <p:grpSpPr>
            <a:xfrm>
              <a:off x="10207721" y="2573943"/>
              <a:ext cx="311545" cy="707372"/>
              <a:chOff x="309086" y="5345226"/>
              <a:chExt cx="311545" cy="707372"/>
            </a:xfrm>
          </p:grpSpPr>
          <p:sp>
            <p:nvSpPr>
              <p:cNvPr id="988"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59" name="Group 558"/>
            <p:cNvGrpSpPr/>
            <p:nvPr/>
          </p:nvGrpSpPr>
          <p:grpSpPr>
            <a:xfrm rot="9000000" flipH="1">
              <a:off x="10525756" y="2618046"/>
              <a:ext cx="89612" cy="132564"/>
              <a:chOff x="2687372" y="3149601"/>
              <a:chExt cx="81465" cy="132564"/>
            </a:xfrm>
            <a:solidFill>
              <a:schemeClr val="accent1"/>
            </a:solidFill>
          </p:grpSpPr>
          <p:sp>
            <p:nvSpPr>
              <p:cNvPr id="56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4" name="Group 13"/>
          <p:cNvGrpSpPr/>
          <p:nvPr/>
        </p:nvGrpSpPr>
        <p:grpSpPr>
          <a:xfrm>
            <a:off x="10104087" y="4213026"/>
            <a:ext cx="484351" cy="601909"/>
            <a:chOff x="10126585" y="4213025"/>
            <a:chExt cx="484351" cy="601909"/>
          </a:xfrm>
        </p:grpSpPr>
        <p:grpSp>
          <p:nvGrpSpPr>
            <p:cNvPr id="5" name="Group 4"/>
            <p:cNvGrpSpPr>
              <a:grpSpLocks noChangeAspect="1"/>
            </p:cNvGrpSpPr>
            <p:nvPr/>
          </p:nvGrpSpPr>
          <p:grpSpPr>
            <a:xfrm>
              <a:off x="10126585" y="4284481"/>
              <a:ext cx="484351" cy="530453"/>
              <a:chOff x="223280" y="2346312"/>
              <a:chExt cx="448473" cy="530453"/>
            </a:xfrm>
          </p:grpSpPr>
          <p:sp>
            <p:nvSpPr>
              <p:cNvPr id="70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2"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3"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Rectangle 704"/>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66" name="Group 565"/>
            <p:cNvGrpSpPr/>
            <p:nvPr/>
          </p:nvGrpSpPr>
          <p:grpSpPr>
            <a:xfrm rot="13971796">
              <a:off x="10451149" y="4189402"/>
              <a:ext cx="98573" cy="145820"/>
              <a:chOff x="2687372" y="3149601"/>
              <a:chExt cx="81465" cy="132564"/>
            </a:xfrm>
            <a:solidFill>
              <a:schemeClr val="accent1"/>
            </a:solidFill>
          </p:grpSpPr>
          <p:sp>
            <p:nvSpPr>
              <p:cNvPr id="56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5" name="Group 14"/>
          <p:cNvGrpSpPr/>
          <p:nvPr/>
        </p:nvGrpSpPr>
        <p:grpSpPr>
          <a:xfrm>
            <a:off x="10093918" y="5589819"/>
            <a:ext cx="452098" cy="692072"/>
            <a:chOff x="10091765" y="5589819"/>
            <a:chExt cx="452098" cy="692072"/>
          </a:xfrm>
        </p:grpSpPr>
        <p:grpSp>
          <p:nvGrpSpPr>
            <p:cNvPr id="773" name="Group 772"/>
            <p:cNvGrpSpPr/>
            <p:nvPr/>
          </p:nvGrpSpPr>
          <p:grpSpPr>
            <a:xfrm>
              <a:off x="10167849" y="5589819"/>
              <a:ext cx="376014" cy="692072"/>
              <a:chOff x="226212" y="3840074"/>
              <a:chExt cx="376014" cy="692072"/>
            </a:xfrm>
            <a:solidFill>
              <a:schemeClr val="bg1"/>
            </a:solidFill>
          </p:grpSpPr>
          <p:sp>
            <p:nvSpPr>
              <p:cNvPr id="774" name="Freeform 39"/>
              <p:cNvSpPr>
                <a:spLocks/>
              </p:cNvSpPr>
              <p:nvPr/>
            </p:nvSpPr>
            <p:spPr bwMode="auto">
              <a:xfrm>
                <a:off x="401567" y="384007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40"/>
              <p:cNvSpPr>
                <a:spLocks/>
              </p:cNvSpPr>
              <p:nvPr/>
            </p:nvSpPr>
            <p:spPr bwMode="auto">
              <a:xfrm>
                <a:off x="427838" y="39311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0" name="Freeform 41"/>
              <p:cNvSpPr>
                <a:spLocks/>
              </p:cNvSpPr>
              <p:nvPr/>
            </p:nvSpPr>
            <p:spPr bwMode="auto">
              <a:xfrm>
                <a:off x="226212" y="401172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73" name="Group 572"/>
            <p:cNvGrpSpPr/>
            <p:nvPr/>
          </p:nvGrpSpPr>
          <p:grpSpPr>
            <a:xfrm rot="13290159">
              <a:off x="10091765" y="5672530"/>
              <a:ext cx="89612" cy="132564"/>
              <a:chOff x="2687372" y="3149601"/>
              <a:chExt cx="81465" cy="132564"/>
            </a:xfrm>
            <a:solidFill>
              <a:schemeClr val="accent1"/>
            </a:solidFill>
          </p:grpSpPr>
          <p:sp>
            <p:nvSpPr>
              <p:cNvPr id="57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371" name="Rectangle 370"/>
          <p:cNvSpPr/>
          <p:nvPr/>
        </p:nvSpPr>
        <p:spPr bwMode="auto">
          <a:xfrm>
            <a:off x="7247454" y="1876901"/>
            <a:ext cx="2614536" cy="2656133"/>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82" name="Group 1181"/>
          <p:cNvGrpSpPr/>
          <p:nvPr/>
        </p:nvGrpSpPr>
        <p:grpSpPr>
          <a:xfrm>
            <a:off x="7286327" y="1921476"/>
            <a:ext cx="2544755" cy="2588250"/>
            <a:chOff x="199444" y="1932654"/>
            <a:chExt cx="1691879" cy="1585517"/>
          </a:xfrm>
        </p:grpSpPr>
        <p:sp>
          <p:nvSpPr>
            <p:cNvPr id="1189" name="Trapezoid 1188"/>
            <p:cNvSpPr/>
            <p:nvPr/>
          </p:nvSpPr>
          <p:spPr bwMode="auto">
            <a:xfrm>
              <a:off x="203676" y="3200073"/>
              <a:ext cx="1682885" cy="313274"/>
            </a:xfrm>
            <a:prstGeom prst="trapezoid">
              <a:avLst>
                <a:gd name="adj" fmla="val 6779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84" name="Group 1183"/>
            <p:cNvGrpSpPr/>
            <p:nvPr/>
          </p:nvGrpSpPr>
          <p:grpSpPr>
            <a:xfrm>
              <a:off x="199444" y="1932654"/>
              <a:ext cx="1691879" cy="1585517"/>
              <a:chOff x="114794" y="583668"/>
              <a:chExt cx="3534424" cy="3543635"/>
            </a:xfrm>
          </p:grpSpPr>
          <p:sp>
            <p:nvSpPr>
              <p:cNvPr id="1185" name="Rectangle 1184"/>
              <p:cNvSpPr/>
              <p:nvPr/>
            </p:nvSpPr>
            <p:spPr bwMode="auto">
              <a:xfrm>
                <a:off x="607548" y="583668"/>
                <a:ext cx="2543904" cy="2819442"/>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86" name="Trapezoid 302"/>
              <p:cNvSpPr/>
              <p:nvPr/>
            </p:nvSpPr>
            <p:spPr bwMode="auto">
              <a:xfrm rot="16200000">
                <a:off x="2292621" y="2770705"/>
                <a:ext cx="2234396" cy="47879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477 h 297477"/>
                  <a:gd name="connsiteX1" fmla="*/ 716023 w 2234395"/>
                  <a:gd name="connsiteY1" fmla="*/ 0 h 297477"/>
                  <a:gd name="connsiteX2" fmla="*/ 2234395 w 2234395"/>
                  <a:gd name="connsiteY2" fmla="*/ 1500 h 297477"/>
                  <a:gd name="connsiteX3" fmla="*/ 2232737 w 2234395"/>
                  <a:gd name="connsiteY3" fmla="*/ 297477 h 297477"/>
                  <a:gd name="connsiteX4" fmla="*/ 0 w 2234395"/>
                  <a:gd name="connsiteY4" fmla="*/ 297477 h 29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477">
                    <a:moveTo>
                      <a:pt x="0" y="297477"/>
                    </a:moveTo>
                    <a:lnTo>
                      <a:pt x="716023" y="0"/>
                    </a:lnTo>
                    <a:lnTo>
                      <a:pt x="2234395" y="1500"/>
                    </a:lnTo>
                    <a:cubicBezTo>
                      <a:pt x="2233842" y="100159"/>
                      <a:pt x="2233290" y="198818"/>
                      <a:pt x="2232737" y="297477"/>
                    </a:cubicBezTo>
                    <a:lnTo>
                      <a:pt x="0" y="297477"/>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87"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10" name="Trapezoid 9"/>
          <p:cNvSpPr/>
          <p:nvPr/>
        </p:nvSpPr>
        <p:spPr bwMode="auto">
          <a:xfrm>
            <a:off x="7467727" y="4214386"/>
            <a:ext cx="1167418" cy="212158"/>
          </a:xfrm>
          <a:prstGeom prst="trapezoid">
            <a:avLst>
              <a:gd name="adj" fmla="val 80666"/>
            </a:avLst>
          </a:pr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373" name="Group 372"/>
          <p:cNvGrpSpPr/>
          <p:nvPr/>
        </p:nvGrpSpPr>
        <p:grpSpPr>
          <a:xfrm>
            <a:off x="5496914" y="1318293"/>
            <a:ext cx="1476375" cy="1476375"/>
            <a:chOff x="12938991" y="3310221"/>
            <a:chExt cx="1476375" cy="1476375"/>
          </a:xfrm>
        </p:grpSpPr>
        <p:sp>
          <p:nvSpPr>
            <p:cNvPr id="374" name="Freeform 25"/>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26"/>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27"/>
            <p:cNvSpPr>
              <a:spLocks noEditPoints="1"/>
            </p:cNvSpPr>
            <p:nvPr/>
          </p:nvSpPr>
          <p:spPr bwMode="auto">
            <a:xfrm>
              <a:off x="12999316" y="3395946"/>
              <a:ext cx="1355725" cy="1352550"/>
            </a:xfrm>
            <a:custGeom>
              <a:avLst/>
              <a:gdLst>
                <a:gd name="T0" fmla="*/ 196 w 854"/>
                <a:gd name="T1" fmla="*/ 746 h 852"/>
                <a:gd name="T2" fmla="*/ 202 w 854"/>
                <a:gd name="T3" fmla="*/ 782 h 852"/>
                <a:gd name="T4" fmla="*/ 288 w 854"/>
                <a:gd name="T5" fmla="*/ 818 h 852"/>
                <a:gd name="T6" fmla="*/ 422 w 854"/>
                <a:gd name="T7" fmla="*/ 852 h 852"/>
                <a:gd name="T8" fmla="*/ 490 w 854"/>
                <a:gd name="T9" fmla="*/ 838 h 852"/>
                <a:gd name="T10" fmla="*/ 450 w 854"/>
                <a:gd name="T11" fmla="*/ 790 h 852"/>
                <a:gd name="T12" fmla="*/ 332 w 854"/>
                <a:gd name="T13" fmla="*/ 738 h 852"/>
                <a:gd name="T14" fmla="*/ 638 w 854"/>
                <a:gd name="T15" fmla="*/ 738 h 852"/>
                <a:gd name="T16" fmla="*/ 650 w 854"/>
                <a:gd name="T17" fmla="*/ 758 h 852"/>
                <a:gd name="T18" fmla="*/ 666 w 854"/>
                <a:gd name="T19" fmla="*/ 732 h 852"/>
                <a:gd name="T20" fmla="*/ 696 w 854"/>
                <a:gd name="T21" fmla="*/ 540 h 852"/>
                <a:gd name="T22" fmla="*/ 664 w 854"/>
                <a:gd name="T23" fmla="*/ 582 h 852"/>
                <a:gd name="T24" fmla="*/ 622 w 854"/>
                <a:gd name="T25" fmla="*/ 594 h 852"/>
                <a:gd name="T26" fmla="*/ 600 w 854"/>
                <a:gd name="T27" fmla="*/ 560 h 852"/>
                <a:gd name="T28" fmla="*/ 582 w 854"/>
                <a:gd name="T29" fmla="*/ 542 h 852"/>
                <a:gd name="T30" fmla="*/ 530 w 854"/>
                <a:gd name="T31" fmla="*/ 584 h 852"/>
                <a:gd name="T32" fmla="*/ 498 w 854"/>
                <a:gd name="T33" fmla="*/ 584 h 852"/>
                <a:gd name="T34" fmla="*/ 464 w 854"/>
                <a:gd name="T35" fmla="*/ 632 h 852"/>
                <a:gd name="T36" fmla="*/ 480 w 854"/>
                <a:gd name="T37" fmla="*/ 688 h 852"/>
                <a:gd name="T38" fmla="*/ 546 w 854"/>
                <a:gd name="T39" fmla="*/ 684 h 852"/>
                <a:gd name="T40" fmla="*/ 598 w 854"/>
                <a:gd name="T41" fmla="*/ 676 h 852"/>
                <a:gd name="T42" fmla="*/ 640 w 854"/>
                <a:gd name="T43" fmla="*/ 700 h 852"/>
                <a:gd name="T44" fmla="*/ 692 w 854"/>
                <a:gd name="T45" fmla="*/ 682 h 852"/>
                <a:gd name="T46" fmla="*/ 712 w 854"/>
                <a:gd name="T47" fmla="*/ 602 h 852"/>
                <a:gd name="T48" fmla="*/ 704 w 854"/>
                <a:gd name="T49" fmla="*/ 538 h 852"/>
                <a:gd name="T50" fmla="*/ 718 w 854"/>
                <a:gd name="T51" fmla="*/ 220 h 852"/>
                <a:gd name="T52" fmla="*/ 714 w 854"/>
                <a:gd name="T53" fmla="*/ 246 h 852"/>
                <a:gd name="T54" fmla="*/ 758 w 854"/>
                <a:gd name="T55" fmla="*/ 266 h 852"/>
                <a:gd name="T56" fmla="*/ 780 w 854"/>
                <a:gd name="T57" fmla="*/ 346 h 852"/>
                <a:gd name="T58" fmla="*/ 792 w 854"/>
                <a:gd name="T59" fmla="*/ 404 h 852"/>
                <a:gd name="T60" fmla="*/ 836 w 854"/>
                <a:gd name="T61" fmla="*/ 398 h 852"/>
                <a:gd name="T62" fmla="*/ 854 w 854"/>
                <a:gd name="T63" fmla="*/ 342 h 852"/>
                <a:gd name="T64" fmla="*/ 792 w 854"/>
                <a:gd name="T65" fmla="*/ 238 h 852"/>
                <a:gd name="T66" fmla="*/ 740 w 854"/>
                <a:gd name="T67" fmla="*/ 212 h 852"/>
                <a:gd name="T68" fmla="*/ 66 w 854"/>
                <a:gd name="T69" fmla="*/ 174 h 852"/>
                <a:gd name="T70" fmla="*/ 16 w 854"/>
                <a:gd name="T71" fmla="*/ 260 h 852"/>
                <a:gd name="T72" fmla="*/ 2 w 854"/>
                <a:gd name="T73" fmla="*/ 452 h 852"/>
                <a:gd name="T74" fmla="*/ 18 w 854"/>
                <a:gd name="T75" fmla="*/ 510 h 852"/>
                <a:gd name="T76" fmla="*/ 78 w 854"/>
                <a:gd name="T77" fmla="*/ 514 h 852"/>
                <a:gd name="T78" fmla="*/ 114 w 854"/>
                <a:gd name="T79" fmla="*/ 466 h 852"/>
                <a:gd name="T80" fmla="*/ 96 w 854"/>
                <a:gd name="T81" fmla="*/ 370 h 852"/>
                <a:gd name="T82" fmla="*/ 130 w 854"/>
                <a:gd name="T83" fmla="*/ 228 h 852"/>
                <a:gd name="T84" fmla="*/ 146 w 854"/>
                <a:gd name="T85" fmla="*/ 148 h 852"/>
                <a:gd name="T86" fmla="*/ 432 w 854"/>
                <a:gd name="T87" fmla="*/ 2 h 852"/>
                <a:gd name="T88" fmla="*/ 290 w 854"/>
                <a:gd name="T89" fmla="*/ 36 h 852"/>
                <a:gd name="T90" fmla="*/ 236 w 854"/>
                <a:gd name="T91" fmla="*/ 120 h 852"/>
                <a:gd name="T92" fmla="*/ 272 w 854"/>
                <a:gd name="T93" fmla="*/ 162 h 852"/>
                <a:gd name="T94" fmla="*/ 330 w 854"/>
                <a:gd name="T95" fmla="*/ 208 h 852"/>
                <a:gd name="T96" fmla="*/ 322 w 854"/>
                <a:gd name="T97" fmla="*/ 262 h 852"/>
                <a:gd name="T98" fmla="*/ 286 w 854"/>
                <a:gd name="T99" fmla="*/ 322 h 852"/>
                <a:gd name="T100" fmla="*/ 302 w 854"/>
                <a:gd name="T101" fmla="*/ 404 h 852"/>
                <a:gd name="T102" fmla="*/ 396 w 854"/>
                <a:gd name="T103" fmla="*/ 492 h 852"/>
                <a:gd name="T104" fmla="*/ 468 w 854"/>
                <a:gd name="T105" fmla="*/ 508 h 852"/>
                <a:gd name="T106" fmla="*/ 478 w 854"/>
                <a:gd name="T107" fmla="*/ 474 h 852"/>
                <a:gd name="T108" fmla="*/ 398 w 854"/>
                <a:gd name="T109" fmla="*/ 452 h 852"/>
                <a:gd name="T110" fmla="*/ 400 w 854"/>
                <a:gd name="T111" fmla="*/ 358 h 852"/>
                <a:gd name="T112" fmla="*/ 442 w 854"/>
                <a:gd name="T113" fmla="*/ 292 h 852"/>
                <a:gd name="T114" fmla="*/ 488 w 854"/>
                <a:gd name="T115" fmla="*/ 224 h 852"/>
                <a:gd name="T116" fmla="*/ 526 w 854"/>
                <a:gd name="T117" fmla="*/ 142 h 852"/>
                <a:gd name="T118" fmla="*/ 572 w 854"/>
                <a:gd name="T119" fmla="*/ 130 h 852"/>
                <a:gd name="T120" fmla="*/ 680 w 854"/>
                <a:gd name="T121" fmla="*/ 138 h 852"/>
                <a:gd name="T122" fmla="*/ 702 w 854"/>
                <a:gd name="T123" fmla="*/ 110 h 852"/>
                <a:gd name="T124" fmla="*/ 582 w 854"/>
                <a:gd name="T125" fmla="*/ 28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852">
                  <a:moveTo>
                    <a:pt x="332" y="738"/>
                  </a:moveTo>
                  <a:lnTo>
                    <a:pt x="332" y="738"/>
                  </a:lnTo>
                  <a:lnTo>
                    <a:pt x="298" y="738"/>
                  </a:lnTo>
                  <a:lnTo>
                    <a:pt x="264" y="742"/>
                  </a:lnTo>
                  <a:lnTo>
                    <a:pt x="230" y="744"/>
                  </a:lnTo>
                  <a:lnTo>
                    <a:pt x="196" y="746"/>
                  </a:lnTo>
                  <a:lnTo>
                    <a:pt x="196" y="746"/>
                  </a:lnTo>
                  <a:lnTo>
                    <a:pt x="194" y="752"/>
                  </a:lnTo>
                  <a:lnTo>
                    <a:pt x="194" y="760"/>
                  </a:lnTo>
                  <a:lnTo>
                    <a:pt x="198" y="774"/>
                  </a:lnTo>
                  <a:lnTo>
                    <a:pt x="198" y="774"/>
                  </a:lnTo>
                  <a:lnTo>
                    <a:pt x="202" y="782"/>
                  </a:lnTo>
                  <a:lnTo>
                    <a:pt x="208" y="790"/>
                  </a:lnTo>
                  <a:lnTo>
                    <a:pt x="214" y="796"/>
                  </a:lnTo>
                  <a:lnTo>
                    <a:pt x="220" y="800"/>
                  </a:lnTo>
                  <a:lnTo>
                    <a:pt x="236" y="808"/>
                  </a:lnTo>
                  <a:lnTo>
                    <a:pt x="252" y="812"/>
                  </a:lnTo>
                  <a:lnTo>
                    <a:pt x="288" y="818"/>
                  </a:lnTo>
                  <a:lnTo>
                    <a:pt x="304" y="822"/>
                  </a:lnTo>
                  <a:lnTo>
                    <a:pt x="322" y="826"/>
                  </a:lnTo>
                  <a:lnTo>
                    <a:pt x="322" y="826"/>
                  </a:lnTo>
                  <a:lnTo>
                    <a:pt x="378" y="842"/>
                  </a:lnTo>
                  <a:lnTo>
                    <a:pt x="408" y="850"/>
                  </a:lnTo>
                  <a:lnTo>
                    <a:pt x="422" y="852"/>
                  </a:lnTo>
                  <a:lnTo>
                    <a:pt x="438" y="852"/>
                  </a:lnTo>
                  <a:lnTo>
                    <a:pt x="438" y="852"/>
                  </a:lnTo>
                  <a:lnTo>
                    <a:pt x="452" y="852"/>
                  </a:lnTo>
                  <a:lnTo>
                    <a:pt x="464" y="850"/>
                  </a:lnTo>
                  <a:lnTo>
                    <a:pt x="478" y="844"/>
                  </a:lnTo>
                  <a:lnTo>
                    <a:pt x="490" y="838"/>
                  </a:lnTo>
                  <a:lnTo>
                    <a:pt x="490" y="838"/>
                  </a:lnTo>
                  <a:lnTo>
                    <a:pt x="490" y="830"/>
                  </a:lnTo>
                  <a:lnTo>
                    <a:pt x="486" y="824"/>
                  </a:lnTo>
                  <a:lnTo>
                    <a:pt x="478" y="812"/>
                  </a:lnTo>
                  <a:lnTo>
                    <a:pt x="466" y="800"/>
                  </a:lnTo>
                  <a:lnTo>
                    <a:pt x="450" y="790"/>
                  </a:lnTo>
                  <a:lnTo>
                    <a:pt x="418" y="768"/>
                  </a:lnTo>
                  <a:lnTo>
                    <a:pt x="404" y="756"/>
                  </a:lnTo>
                  <a:lnTo>
                    <a:pt x="392" y="744"/>
                  </a:lnTo>
                  <a:lnTo>
                    <a:pt x="392" y="744"/>
                  </a:lnTo>
                  <a:lnTo>
                    <a:pt x="362" y="738"/>
                  </a:lnTo>
                  <a:lnTo>
                    <a:pt x="332" y="738"/>
                  </a:lnTo>
                  <a:close/>
                  <a:moveTo>
                    <a:pt x="656" y="724"/>
                  </a:moveTo>
                  <a:lnTo>
                    <a:pt x="656" y="724"/>
                  </a:lnTo>
                  <a:lnTo>
                    <a:pt x="650" y="724"/>
                  </a:lnTo>
                  <a:lnTo>
                    <a:pt x="644" y="728"/>
                  </a:lnTo>
                  <a:lnTo>
                    <a:pt x="640" y="732"/>
                  </a:lnTo>
                  <a:lnTo>
                    <a:pt x="638" y="738"/>
                  </a:lnTo>
                  <a:lnTo>
                    <a:pt x="638" y="738"/>
                  </a:lnTo>
                  <a:lnTo>
                    <a:pt x="640" y="746"/>
                  </a:lnTo>
                  <a:lnTo>
                    <a:pt x="642" y="752"/>
                  </a:lnTo>
                  <a:lnTo>
                    <a:pt x="646" y="756"/>
                  </a:lnTo>
                  <a:lnTo>
                    <a:pt x="650" y="758"/>
                  </a:lnTo>
                  <a:lnTo>
                    <a:pt x="650" y="758"/>
                  </a:lnTo>
                  <a:lnTo>
                    <a:pt x="654" y="756"/>
                  </a:lnTo>
                  <a:lnTo>
                    <a:pt x="658" y="752"/>
                  </a:lnTo>
                  <a:lnTo>
                    <a:pt x="660" y="748"/>
                  </a:lnTo>
                  <a:lnTo>
                    <a:pt x="664" y="740"/>
                  </a:lnTo>
                  <a:lnTo>
                    <a:pt x="664" y="740"/>
                  </a:lnTo>
                  <a:lnTo>
                    <a:pt x="666" y="732"/>
                  </a:lnTo>
                  <a:lnTo>
                    <a:pt x="664" y="728"/>
                  </a:lnTo>
                  <a:lnTo>
                    <a:pt x="660" y="724"/>
                  </a:lnTo>
                  <a:lnTo>
                    <a:pt x="656" y="724"/>
                  </a:lnTo>
                  <a:close/>
                  <a:moveTo>
                    <a:pt x="700" y="536"/>
                  </a:moveTo>
                  <a:lnTo>
                    <a:pt x="700" y="536"/>
                  </a:lnTo>
                  <a:lnTo>
                    <a:pt x="696" y="540"/>
                  </a:lnTo>
                  <a:lnTo>
                    <a:pt x="690" y="548"/>
                  </a:lnTo>
                  <a:lnTo>
                    <a:pt x="690" y="548"/>
                  </a:lnTo>
                  <a:lnTo>
                    <a:pt x="686" y="558"/>
                  </a:lnTo>
                  <a:lnTo>
                    <a:pt x="680" y="568"/>
                  </a:lnTo>
                  <a:lnTo>
                    <a:pt x="672" y="576"/>
                  </a:lnTo>
                  <a:lnTo>
                    <a:pt x="664" y="582"/>
                  </a:lnTo>
                  <a:lnTo>
                    <a:pt x="656" y="588"/>
                  </a:lnTo>
                  <a:lnTo>
                    <a:pt x="646" y="592"/>
                  </a:lnTo>
                  <a:lnTo>
                    <a:pt x="638" y="594"/>
                  </a:lnTo>
                  <a:lnTo>
                    <a:pt x="628" y="594"/>
                  </a:lnTo>
                  <a:lnTo>
                    <a:pt x="628" y="594"/>
                  </a:lnTo>
                  <a:lnTo>
                    <a:pt x="622" y="594"/>
                  </a:lnTo>
                  <a:lnTo>
                    <a:pt x="616" y="592"/>
                  </a:lnTo>
                  <a:lnTo>
                    <a:pt x="610" y="588"/>
                  </a:lnTo>
                  <a:lnTo>
                    <a:pt x="604" y="584"/>
                  </a:lnTo>
                  <a:lnTo>
                    <a:pt x="602" y="578"/>
                  </a:lnTo>
                  <a:lnTo>
                    <a:pt x="600" y="570"/>
                  </a:lnTo>
                  <a:lnTo>
                    <a:pt x="600" y="560"/>
                  </a:lnTo>
                  <a:lnTo>
                    <a:pt x="602" y="548"/>
                  </a:lnTo>
                  <a:lnTo>
                    <a:pt x="602" y="548"/>
                  </a:lnTo>
                  <a:lnTo>
                    <a:pt x="596" y="542"/>
                  </a:lnTo>
                  <a:lnTo>
                    <a:pt x="590" y="540"/>
                  </a:lnTo>
                  <a:lnTo>
                    <a:pt x="590" y="540"/>
                  </a:lnTo>
                  <a:lnTo>
                    <a:pt x="582" y="542"/>
                  </a:lnTo>
                  <a:lnTo>
                    <a:pt x="576" y="546"/>
                  </a:lnTo>
                  <a:lnTo>
                    <a:pt x="558" y="562"/>
                  </a:lnTo>
                  <a:lnTo>
                    <a:pt x="558" y="562"/>
                  </a:lnTo>
                  <a:lnTo>
                    <a:pt x="550" y="570"/>
                  </a:lnTo>
                  <a:lnTo>
                    <a:pt x="540" y="578"/>
                  </a:lnTo>
                  <a:lnTo>
                    <a:pt x="530" y="584"/>
                  </a:lnTo>
                  <a:lnTo>
                    <a:pt x="520" y="584"/>
                  </a:lnTo>
                  <a:lnTo>
                    <a:pt x="520" y="584"/>
                  </a:lnTo>
                  <a:lnTo>
                    <a:pt x="514" y="584"/>
                  </a:lnTo>
                  <a:lnTo>
                    <a:pt x="508" y="582"/>
                  </a:lnTo>
                  <a:lnTo>
                    <a:pt x="508" y="582"/>
                  </a:lnTo>
                  <a:lnTo>
                    <a:pt x="498" y="584"/>
                  </a:lnTo>
                  <a:lnTo>
                    <a:pt x="488" y="588"/>
                  </a:lnTo>
                  <a:lnTo>
                    <a:pt x="480" y="596"/>
                  </a:lnTo>
                  <a:lnTo>
                    <a:pt x="474" y="602"/>
                  </a:lnTo>
                  <a:lnTo>
                    <a:pt x="468" y="612"/>
                  </a:lnTo>
                  <a:lnTo>
                    <a:pt x="466" y="622"/>
                  </a:lnTo>
                  <a:lnTo>
                    <a:pt x="464" y="632"/>
                  </a:lnTo>
                  <a:lnTo>
                    <a:pt x="462" y="642"/>
                  </a:lnTo>
                  <a:lnTo>
                    <a:pt x="464" y="652"/>
                  </a:lnTo>
                  <a:lnTo>
                    <a:pt x="466" y="662"/>
                  </a:lnTo>
                  <a:lnTo>
                    <a:pt x="470" y="672"/>
                  </a:lnTo>
                  <a:lnTo>
                    <a:pt x="474" y="680"/>
                  </a:lnTo>
                  <a:lnTo>
                    <a:pt x="480" y="688"/>
                  </a:lnTo>
                  <a:lnTo>
                    <a:pt x="488" y="694"/>
                  </a:lnTo>
                  <a:lnTo>
                    <a:pt x="498" y="698"/>
                  </a:lnTo>
                  <a:lnTo>
                    <a:pt x="508" y="700"/>
                  </a:lnTo>
                  <a:lnTo>
                    <a:pt x="508" y="700"/>
                  </a:lnTo>
                  <a:lnTo>
                    <a:pt x="528" y="694"/>
                  </a:lnTo>
                  <a:lnTo>
                    <a:pt x="546" y="684"/>
                  </a:lnTo>
                  <a:lnTo>
                    <a:pt x="564" y="676"/>
                  </a:lnTo>
                  <a:lnTo>
                    <a:pt x="572" y="674"/>
                  </a:lnTo>
                  <a:lnTo>
                    <a:pt x="582" y="674"/>
                  </a:lnTo>
                  <a:lnTo>
                    <a:pt x="582" y="674"/>
                  </a:lnTo>
                  <a:lnTo>
                    <a:pt x="590" y="674"/>
                  </a:lnTo>
                  <a:lnTo>
                    <a:pt x="598" y="676"/>
                  </a:lnTo>
                  <a:lnTo>
                    <a:pt x="606" y="682"/>
                  </a:lnTo>
                  <a:lnTo>
                    <a:pt x="614" y="688"/>
                  </a:lnTo>
                  <a:lnTo>
                    <a:pt x="614" y="688"/>
                  </a:lnTo>
                  <a:lnTo>
                    <a:pt x="622" y="694"/>
                  </a:lnTo>
                  <a:lnTo>
                    <a:pt x="630" y="698"/>
                  </a:lnTo>
                  <a:lnTo>
                    <a:pt x="640" y="700"/>
                  </a:lnTo>
                  <a:lnTo>
                    <a:pt x="648" y="702"/>
                  </a:lnTo>
                  <a:lnTo>
                    <a:pt x="648" y="702"/>
                  </a:lnTo>
                  <a:lnTo>
                    <a:pt x="656" y="700"/>
                  </a:lnTo>
                  <a:lnTo>
                    <a:pt x="664" y="700"/>
                  </a:lnTo>
                  <a:lnTo>
                    <a:pt x="678" y="692"/>
                  </a:lnTo>
                  <a:lnTo>
                    <a:pt x="692" y="682"/>
                  </a:lnTo>
                  <a:lnTo>
                    <a:pt x="702" y="668"/>
                  </a:lnTo>
                  <a:lnTo>
                    <a:pt x="710" y="652"/>
                  </a:lnTo>
                  <a:lnTo>
                    <a:pt x="714" y="636"/>
                  </a:lnTo>
                  <a:lnTo>
                    <a:pt x="716" y="620"/>
                  </a:lnTo>
                  <a:lnTo>
                    <a:pt x="714" y="610"/>
                  </a:lnTo>
                  <a:lnTo>
                    <a:pt x="712" y="602"/>
                  </a:lnTo>
                  <a:lnTo>
                    <a:pt x="712" y="602"/>
                  </a:lnTo>
                  <a:lnTo>
                    <a:pt x="710" y="596"/>
                  </a:lnTo>
                  <a:lnTo>
                    <a:pt x="708" y="586"/>
                  </a:lnTo>
                  <a:lnTo>
                    <a:pt x="706" y="564"/>
                  </a:lnTo>
                  <a:lnTo>
                    <a:pt x="706" y="544"/>
                  </a:lnTo>
                  <a:lnTo>
                    <a:pt x="704" y="538"/>
                  </a:lnTo>
                  <a:lnTo>
                    <a:pt x="700" y="536"/>
                  </a:lnTo>
                  <a:close/>
                  <a:moveTo>
                    <a:pt x="740" y="212"/>
                  </a:moveTo>
                  <a:lnTo>
                    <a:pt x="740" y="212"/>
                  </a:lnTo>
                  <a:lnTo>
                    <a:pt x="728" y="214"/>
                  </a:lnTo>
                  <a:lnTo>
                    <a:pt x="722" y="218"/>
                  </a:lnTo>
                  <a:lnTo>
                    <a:pt x="718" y="220"/>
                  </a:lnTo>
                  <a:lnTo>
                    <a:pt x="714" y="226"/>
                  </a:lnTo>
                  <a:lnTo>
                    <a:pt x="712" y="230"/>
                  </a:lnTo>
                  <a:lnTo>
                    <a:pt x="710" y="238"/>
                  </a:lnTo>
                  <a:lnTo>
                    <a:pt x="710" y="246"/>
                  </a:lnTo>
                  <a:lnTo>
                    <a:pt x="710" y="246"/>
                  </a:lnTo>
                  <a:lnTo>
                    <a:pt x="714" y="246"/>
                  </a:lnTo>
                  <a:lnTo>
                    <a:pt x="714" y="246"/>
                  </a:lnTo>
                  <a:lnTo>
                    <a:pt x="724" y="246"/>
                  </a:lnTo>
                  <a:lnTo>
                    <a:pt x="732" y="248"/>
                  </a:lnTo>
                  <a:lnTo>
                    <a:pt x="740" y="252"/>
                  </a:lnTo>
                  <a:lnTo>
                    <a:pt x="746" y="256"/>
                  </a:lnTo>
                  <a:lnTo>
                    <a:pt x="758" y="266"/>
                  </a:lnTo>
                  <a:lnTo>
                    <a:pt x="768" y="280"/>
                  </a:lnTo>
                  <a:lnTo>
                    <a:pt x="774" y="296"/>
                  </a:lnTo>
                  <a:lnTo>
                    <a:pt x="778" y="312"/>
                  </a:lnTo>
                  <a:lnTo>
                    <a:pt x="780" y="330"/>
                  </a:lnTo>
                  <a:lnTo>
                    <a:pt x="780" y="346"/>
                  </a:lnTo>
                  <a:lnTo>
                    <a:pt x="780" y="346"/>
                  </a:lnTo>
                  <a:lnTo>
                    <a:pt x="774" y="358"/>
                  </a:lnTo>
                  <a:lnTo>
                    <a:pt x="772" y="370"/>
                  </a:lnTo>
                  <a:lnTo>
                    <a:pt x="774" y="380"/>
                  </a:lnTo>
                  <a:lnTo>
                    <a:pt x="778" y="390"/>
                  </a:lnTo>
                  <a:lnTo>
                    <a:pt x="784" y="398"/>
                  </a:lnTo>
                  <a:lnTo>
                    <a:pt x="792" y="404"/>
                  </a:lnTo>
                  <a:lnTo>
                    <a:pt x="800" y="408"/>
                  </a:lnTo>
                  <a:lnTo>
                    <a:pt x="810" y="410"/>
                  </a:lnTo>
                  <a:lnTo>
                    <a:pt x="810" y="410"/>
                  </a:lnTo>
                  <a:lnTo>
                    <a:pt x="820" y="408"/>
                  </a:lnTo>
                  <a:lnTo>
                    <a:pt x="828" y="404"/>
                  </a:lnTo>
                  <a:lnTo>
                    <a:pt x="836" y="398"/>
                  </a:lnTo>
                  <a:lnTo>
                    <a:pt x="844" y="388"/>
                  </a:lnTo>
                  <a:lnTo>
                    <a:pt x="844" y="388"/>
                  </a:lnTo>
                  <a:lnTo>
                    <a:pt x="850" y="378"/>
                  </a:lnTo>
                  <a:lnTo>
                    <a:pt x="852" y="366"/>
                  </a:lnTo>
                  <a:lnTo>
                    <a:pt x="854" y="354"/>
                  </a:lnTo>
                  <a:lnTo>
                    <a:pt x="854" y="342"/>
                  </a:lnTo>
                  <a:lnTo>
                    <a:pt x="852" y="330"/>
                  </a:lnTo>
                  <a:lnTo>
                    <a:pt x="850" y="320"/>
                  </a:lnTo>
                  <a:lnTo>
                    <a:pt x="840" y="296"/>
                  </a:lnTo>
                  <a:lnTo>
                    <a:pt x="826" y="274"/>
                  </a:lnTo>
                  <a:lnTo>
                    <a:pt x="810" y="256"/>
                  </a:lnTo>
                  <a:lnTo>
                    <a:pt x="792" y="238"/>
                  </a:lnTo>
                  <a:lnTo>
                    <a:pt x="772" y="224"/>
                  </a:lnTo>
                  <a:lnTo>
                    <a:pt x="772" y="224"/>
                  </a:lnTo>
                  <a:lnTo>
                    <a:pt x="766" y="220"/>
                  </a:lnTo>
                  <a:lnTo>
                    <a:pt x="758" y="216"/>
                  </a:lnTo>
                  <a:lnTo>
                    <a:pt x="748" y="214"/>
                  </a:lnTo>
                  <a:lnTo>
                    <a:pt x="740" y="212"/>
                  </a:lnTo>
                  <a:close/>
                  <a:moveTo>
                    <a:pt x="128" y="146"/>
                  </a:moveTo>
                  <a:lnTo>
                    <a:pt x="128" y="146"/>
                  </a:lnTo>
                  <a:lnTo>
                    <a:pt x="110" y="148"/>
                  </a:lnTo>
                  <a:lnTo>
                    <a:pt x="94" y="154"/>
                  </a:lnTo>
                  <a:lnTo>
                    <a:pt x="80" y="164"/>
                  </a:lnTo>
                  <a:lnTo>
                    <a:pt x="66" y="174"/>
                  </a:lnTo>
                  <a:lnTo>
                    <a:pt x="54" y="188"/>
                  </a:lnTo>
                  <a:lnTo>
                    <a:pt x="44" y="204"/>
                  </a:lnTo>
                  <a:lnTo>
                    <a:pt x="36" y="220"/>
                  </a:lnTo>
                  <a:lnTo>
                    <a:pt x="28" y="234"/>
                  </a:lnTo>
                  <a:lnTo>
                    <a:pt x="28" y="234"/>
                  </a:lnTo>
                  <a:lnTo>
                    <a:pt x="16" y="260"/>
                  </a:lnTo>
                  <a:lnTo>
                    <a:pt x="8" y="286"/>
                  </a:lnTo>
                  <a:lnTo>
                    <a:pt x="4" y="314"/>
                  </a:lnTo>
                  <a:lnTo>
                    <a:pt x="2" y="340"/>
                  </a:lnTo>
                  <a:lnTo>
                    <a:pt x="0" y="368"/>
                  </a:lnTo>
                  <a:lnTo>
                    <a:pt x="2" y="396"/>
                  </a:lnTo>
                  <a:lnTo>
                    <a:pt x="2" y="452"/>
                  </a:lnTo>
                  <a:lnTo>
                    <a:pt x="2" y="452"/>
                  </a:lnTo>
                  <a:lnTo>
                    <a:pt x="0" y="466"/>
                  </a:lnTo>
                  <a:lnTo>
                    <a:pt x="0" y="480"/>
                  </a:lnTo>
                  <a:lnTo>
                    <a:pt x="4" y="490"/>
                  </a:lnTo>
                  <a:lnTo>
                    <a:pt x="10" y="502"/>
                  </a:lnTo>
                  <a:lnTo>
                    <a:pt x="18" y="510"/>
                  </a:lnTo>
                  <a:lnTo>
                    <a:pt x="30" y="516"/>
                  </a:lnTo>
                  <a:lnTo>
                    <a:pt x="40" y="520"/>
                  </a:lnTo>
                  <a:lnTo>
                    <a:pt x="52" y="520"/>
                  </a:lnTo>
                  <a:lnTo>
                    <a:pt x="52" y="520"/>
                  </a:lnTo>
                  <a:lnTo>
                    <a:pt x="66" y="520"/>
                  </a:lnTo>
                  <a:lnTo>
                    <a:pt x="78" y="514"/>
                  </a:lnTo>
                  <a:lnTo>
                    <a:pt x="88" y="504"/>
                  </a:lnTo>
                  <a:lnTo>
                    <a:pt x="98" y="490"/>
                  </a:lnTo>
                  <a:lnTo>
                    <a:pt x="98" y="490"/>
                  </a:lnTo>
                  <a:lnTo>
                    <a:pt x="104" y="482"/>
                  </a:lnTo>
                  <a:lnTo>
                    <a:pt x="110" y="474"/>
                  </a:lnTo>
                  <a:lnTo>
                    <a:pt x="114" y="466"/>
                  </a:lnTo>
                  <a:lnTo>
                    <a:pt x="116" y="458"/>
                  </a:lnTo>
                  <a:lnTo>
                    <a:pt x="118" y="440"/>
                  </a:lnTo>
                  <a:lnTo>
                    <a:pt x="116" y="424"/>
                  </a:lnTo>
                  <a:lnTo>
                    <a:pt x="110" y="406"/>
                  </a:lnTo>
                  <a:lnTo>
                    <a:pt x="104" y="388"/>
                  </a:lnTo>
                  <a:lnTo>
                    <a:pt x="96" y="370"/>
                  </a:lnTo>
                  <a:lnTo>
                    <a:pt x="90" y="352"/>
                  </a:lnTo>
                  <a:lnTo>
                    <a:pt x="90" y="352"/>
                  </a:lnTo>
                  <a:lnTo>
                    <a:pt x="104" y="302"/>
                  </a:lnTo>
                  <a:lnTo>
                    <a:pt x="110" y="276"/>
                  </a:lnTo>
                  <a:lnTo>
                    <a:pt x="120" y="252"/>
                  </a:lnTo>
                  <a:lnTo>
                    <a:pt x="130" y="228"/>
                  </a:lnTo>
                  <a:lnTo>
                    <a:pt x="142" y="206"/>
                  </a:lnTo>
                  <a:lnTo>
                    <a:pt x="156" y="184"/>
                  </a:lnTo>
                  <a:lnTo>
                    <a:pt x="174" y="164"/>
                  </a:lnTo>
                  <a:lnTo>
                    <a:pt x="174" y="164"/>
                  </a:lnTo>
                  <a:lnTo>
                    <a:pt x="156" y="154"/>
                  </a:lnTo>
                  <a:lnTo>
                    <a:pt x="146" y="148"/>
                  </a:lnTo>
                  <a:lnTo>
                    <a:pt x="136" y="146"/>
                  </a:lnTo>
                  <a:lnTo>
                    <a:pt x="136" y="146"/>
                  </a:lnTo>
                  <a:lnTo>
                    <a:pt x="128" y="146"/>
                  </a:lnTo>
                  <a:close/>
                  <a:moveTo>
                    <a:pt x="460" y="0"/>
                  </a:moveTo>
                  <a:lnTo>
                    <a:pt x="460" y="0"/>
                  </a:lnTo>
                  <a:lnTo>
                    <a:pt x="432" y="2"/>
                  </a:lnTo>
                  <a:lnTo>
                    <a:pt x="406" y="6"/>
                  </a:lnTo>
                  <a:lnTo>
                    <a:pt x="356" y="14"/>
                  </a:lnTo>
                  <a:lnTo>
                    <a:pt x="356" y="14"/>
                  </a:lnTo>
                  <a:lnTo>
                    <a:pt x="328" y="20"/>
                  </a:lnTo>
                  <a:lnTo>
                    <a:pt x="306" y="28"/>
                  </a:lnTo>
                  <a:lnTo>
                    <a:pt x="290" y="36"/>
                  </a:lnTo>
                  <a:lnTo>
                    <a:pt x="280" y="46"/>
                  </a:lnTo>
                  <a:lnTo>
                    <a:pt x="270" y="60"/>
                  </a:lnTo>
                  <a:lnTo>
                    <a:pt x="262" y="74"/>
                  </a:lnTo>
                  <a:lnTo>
                    <a:pt x="242" y="108"/>
                  </a:lnTo>
                  <a:lnTo>
                    <a:pt x="242" y="108"/>
                  </a:lnTo>
                  <a:lnTo>
                    <a:pt x="236" y="120"/>
                  </a:lnTo>
                  <a:lnTo>
                    <a:pt x="234" y="130"/>
                  </a:lnTo>
                  <a:lnTo>
                    <a:pt x="236" y="138"/>
                  </a:lnTo>
                  <a:lnTo>
                    <a:pt x="240" y="146"/>
                  </a:lnTo>
                  <a:lnTo>
                    <a:pt x="246" y="150"/>
                  </a:lnTo>
                  <a:lnTo>
                    <a:pt x="254" y="156"/>
                  </a:lnTo>
                  <a:lnTo>
                    <a:pt x="272" y="162"/>
                  </a:lnTo>
                  <a:lnTo>
                    <a:pt x="292" y="170"/>
                  </a:lnTo>
                  <a:lnTo>
                    <a:pt x="310" y="178"/>
                  </a:lnTo>
                  <a:lnTo>
                    <a:pt x="318" y="184"/>
                  </a:lnTo>
                  <a:lnTo>
                    <a:pt x="324" y="190"/>
                  </a:lnTo>
                  <a:lnTo>
                    <a:pt x="330" y="198"/>
                  </a:lnTo>
                  <a:lnTo>
                    <a:pt x="330" y="208"/>
                  </a:lnTo>
                  <a:lnTo>
                    <a:pt x="330" y="208"/>
                  </a:lnTo>
                  <a:lnTo>
                    <a:pt x="332" y="220"/>
                  </a:lnTo>
                  <a:lnTo>
                    <a:pt x="332" y="232"/>
                  </a:lnTo>
                  <a:lnTo>
                    <a:pt x="332" y="240"/>
                  </a:lnTo>
                  <a:lnTo>
                    <a:pt x="330" y="248"/>
                  </a:lnTo>
                  <a:lnTo>
                    <a:pt x="322" y="262"/>
                  </a:lnTo>
                  <a:lnTo>
                    <a:pt x="312" y="274"/>
                  </a:lnTo>
                  <a:lnTo>
                    <a:pt x="302" y="286"/>
                  </a:lnTo>
                  <a:lnTo>
                    <a:pt x="292" y="298"/>
                  </a:lnTo>
                  <a:lnTo>
                    <a:pt x="290" y="304"/>
                  </a:lnTo>
                  <a:lnTo>
                    <a:pt x="286" y="312"/>
                  </a:lnTo>
                  <a:lnTo>
                    <a:pt x="286" y="322"/>
                  </a:lnTo>
                  <a:lnTo>
                    <a:pt x="286" y="332"/>
                  </a:lnTo>
                  <a:lnTo>
                    <a:pt x="286" y="332"/>
                  </a:lnTo>
                  <a:lnTo>
                    <a:pt x="290" y="366"/>
                  </a:lnTo>
                  <a:lnTo>
                    <a:pt x="292" y="382"/>
                  </a:lnTo>
                  <a:lnTo>
                    <a:pt x="298" y="394"/>
                  </a:lnTo>
                  <a:lnTo>
                    <a:pt x="302" y="404"/>
                  </a:lnTo>
                  <a:lnTo>
                    <a:pt x="308" y="412"/>
                  </a:lnTo>
                  <a:lnTo>
                    <a:pt x="322" y="430"/>
                  </a:lnTo>
                  <a:lnTo>
                    <a:pt x="322" y="430"/>
                  </a:lnTo>
                  <a:lnTo>
                    <a:pt x="352" y="454"/>
                  </a:lnTo>
                  <a:lnTo>
                    <a:pt x="380" y="480"/>
                  </a:lnTo>
                  <a:lnTo>
                    <a:pt x="396" y="492"/>
                  </a:lnTo>
                  <a:lnTo>
                    <a:pt x="412" y="502"/>
                  </a:lnTo>
                  <a:lnTo>
                    <a:pt x="430" y="508"/>
                  </a:lnTo>
                  <a:lnTo>
                    <a:pt x="448" y="510"/>
                  </a:lnTo>
                  <a:lnTo>
                    <a:pt x="448" y="510"/>
                  </a:lnTo>
                  <a:lnTo>
                    <a:pt x="458" y="510"/>
                  </a:lnTo>
                  <a:lnTo>
                    <a:pt x="468" y="508"/>
                  </a:lnTo>
                  <a:lnTo>
                    <a:pt x="468" y="508"/>
                  </a:lnTo>
                  <a:lnTo>
                    <a:pt x="476" y="498"/>
                  </a:lnTo>
                  <a:lnTo>
                    <a:pt x="482" y="490"/>
                  </a:lnTo>
                  <a:lnTo>
                    <a:pt x="484" y="484"/>
                  </a:lnTo>
                  <a:lnTo>
                    <a:pt x="482" y="478"/>
                  </a:lnTo>
                  <a:lnTo>
                    <a:pt x="478" y="474"/>
                  </a:lnTo>
                  <a:lnTo>
                    <a:pt x="472" y="472"/>
                  </a:lnTo>
                  <a:lnTo>
                    <a:pt x="454" y="468"/>
                  </a:lnTo>
                  <a:lnTo>
                    <a:pt x="434" y="464"/>
                  </a:lnTo>
                  <a:lnTo>
                    <a:pt x="414" y="460"/>
                  </a:lnTo>
                  <a:lnTo>
                    <a:pt x="406" y="456"/>
                  </a:lnTo>
                  <a:lnTo>
                    <a:pt x="398" y="452"/>
                  </a:lnTo>
                  <a:lnTo>
                    <a:pt x="392" y="446"/>
                  </a:lnTo>
                  <a:lnTo>
                    <a:pt x="390" y="438"/>
                  </a:lnTo>
                  <a:lnTo>
                    <a:pt x="390" y="438"/>
                  </a:lnTo>
                  <a:lnTo>
                    <a:pt x="394" y="398"/>
                  </a:lnTo>
                  <a:lnTo>
                    <a:pt x="396" y="378"/>
                  </a:lnTo>
                  <a:lnTo>
                    <a:pt x="400" y="358"/>
                  </a:lnTo>
                  <a:lnTo>
                    <a:pt x="406" y="338"/>
                  </a:lnTo>
                  <a:lnTo>
                    <a:pt x="414" y="320"/>
                  </a:lnTo>
                  <a:lnTo>
                    <a:pt x="426" y="304"/>
                  </a:lnTo>
                  <a:lnTo>
                    <a:pt x="434" y="298"/>
                  </a:lnTo>
                  <a:lnTo>
                    <a:pt x="442" y="292"/>
                  </a:lnTo>
                  <a:lnTo>
                    <a:pt x="442" y="292"/>
                  </a:lnTo>
                  <a:lnTo>
                    <a:pt x="452" y="286"/>
                  </a:lnTo>
                  <a:lnTo>
                    <a:pt x="460" y="282"/>
                  </a:lnTo>
                  <a:lnTo>
                    <a:pt x="468" y="274"/>
                  </a:lnTo>
                  <a:lnTo>
                    <a:pt x="472" y="266"/>
                  </a:lnTo>
                  <a:lnTo>
                    <a:pt x="482" y="246"/>
                  </a:lnTo>
                  <a:lnTo>
                    <a:pt x="488" y="224"/>
                  </a:lnTo>
                  <a:lnTo>
                    <a:pt x="494" y="202"/>
                  </a:lnTo>
                  <a:lnTo>
                    <a:pt x="500" y="180"/>
                  </a:lnTo>
                  <a:lnTo>
                    <a:pt x="506" y="170"/>
                  </a:lnTo>
                  <a:lnTo>
                    <a:pt x="510" y="160"/>
                  </a:lnTo>
                  <a:lnTo>
                    <a:pt x="518" y="150"/>
                  </a:lnTo>
                  <a:lnTo>
                    <a:pt x="526" y="142"/>
                  </a:lnTo>
                  <a:lnTo>
                    <a:pt x="526" y="142"/>
                  </a:lnTo>
                  <a:lnTo>
                    <a:pt x="532" y="136"/>
                  </a:lnTo>
                  <a:lnTo>
                    <a:pt x="544" y="134"/>
                  </a:lnTo>
                  <a:lnTo>
                    <a:pt x="556" y="132"/>
                  </a:lnTo>
                  <a:lnTo>
                    <a:pt x="572" y="130"/>
                  </a:lnTo>
                  <a:lnTo>
                    <a:pt x="572" y="130"/>
                  </a:lnTo>
                  <a:lnTo>
                    <a:pt x="598" y="132"/>
                  </a:lnTo>
                  <a:lnTo>
                    <a:pt x="628" y="134"/>
                  </a:lnTo>
                  <a:lnTo>
                    <a:pt x="628" y="134"/>
                  </a:lnTo>
                  <a:lnTo>
                    <a:pt x="656" y="136"/>
                  </a:lnTo>
                  <a:lnTo>
                    <a:pt x="680" y="138"/>
                  </a:lnTo>
                  <a:lnTo>
                    <a:pt x="680" y="138"/>
                  </a:lnTo>
                  <a:lnTo>
                    <a:pt x="692" y="136"/>
                  </a:lnTo>
                  <a:lnTo>
                    <a:pt x="702" y="134"/>
                  </a:lnTo>
                  <a:lnTo>
                    <a:pt x="710" y="132"/>
                  </a:lnTo>
                  <a:lnTo>
                    <a:pt x="712" y="126"/>
                  </a:lnTo>
                  <a:lnTo>
                    <a:pt x="710" y="120"/>
                  </a:lnTo>
                  <a:lnTo>
                    <a:pt x="702" y="110"/>
                  </a:lnTo>
                  <a:lnTo>
                    <a:pt x="690" y="98"/>
                  </a:lnTo>
                  <a:lnTo>
                    <a:pt x="672" y="82"/>
                  </a:lnTo>
                  <a:lnTo>
                    <a:pt x="672" y="82"/>
                  </a:lnTo>
                  <a:lnTo>
                    <a:pt x="640" y="60"/>
                  </a:lnTo>
                  <a:lnTo>
                    <a:pt x="610" y="42"/>
                  </a:lnTo>
                  <a:lnTo>
                    <a:pt x="582" y="28"/>
                  </a:lnTo>
                  <a:lnTo>
                    <a:pt x="554" y="18"/>
                  </a:lnTo>
                  <a:lnTo>
                    <a:pt x="530" y="10"/>
                  </a:lnTo>
                  <a:lnTo>
                    <a:pt x="506" y="4"/>
                  </a:lnTo>
                  <a:lnTo>
                    <a:pt x="482" y="2"/>
                  </a:lnTo>
                  <a:lnTo>
                    <a:pt x="460" y="0"/>
                  </a:lnTo>
                  <a:close/>
                </a:path>
              </a:pathLst>
            </a:custGeom>
            <a:solidFill>
              <a:srgbClr val="2B8948"/>
            </a:soli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377" name="Freeform 28"/>
            <p:cNvSpPr>
              <a:spLocks/>
            </p:cNvSpPr>
            <p:nvPr/>
          </p:nvSpPr>
          <p:spPr bwMode="auto">
            <a:xfrm>
              <a:off x="13307291" y="4567521"/>
              <a:ext cx="469900" cy="180975"/>
            </a:xfrm>
            <a:custGeom>
              <a:avLst/>
              <a:gdLst>
                <a:gd name="T0" fmla="*/ 138 w 296"/>
                <a:gd name="T1" fmla="*/ 0 h 114"/>
                <a:gd name="T2" fmla="*/ 138 w 296"/>
                <a:gd name="T3" fmla="*/ 0 h 114"/>
                <a:gd name="T4" fmla="*/ 104 w 296"/>
                <a:gd name="T5" fmla="*/ 0 h 114"/>
                <a:gd name="T6" fmla="*/ 70 w 296"/>
                <a:gd name="T7" fmla="*/ 4 h 114"/>
                <a:gd name="T8" fmla="*/ 36 w 296"/>
                <a:gd name="T9" fmla="*/ 6 h 114"/>
                <a:gd name="T10" fmla="*/ 2 w 296"/>
                <a:gd name="T11" fmla="*/ 8 h 114"/>
                <a:gd name="T12" fmla="*/ 2 w 296"/>
                <a:gd name="T13" fmla="*/ 8 h 114"/>
                <a:gd name="T14" fmla="*/ 0 w 296"/>
                <a:gd name="T15" fmla="*/ 14 h 114"/>
                <a:gd name="T16" fmla="*/ 0 w 296"/>
                <a:gd name="T17" fmla="*/ 22 h 114"/>
                <a:gd name="T18" fmla="*/ 4 w 296"/>
                <a:gd name="T19" fmla="*/ 36 h 114"/>
                <a:gd name="T20" fmla="*/ 4 w 296"/>
                <a:gd name="T21" fmla="*/ 36 h 114"/>
                <a:gd name="T22" fmla="*/ 8 w 296"/>
                <a:gd name="T23" fmla="*/ 44 h 114"/>
                <a:gd name="T24" fmla="*/ 14 w 296"/>
                <a:gd name="T25" fmla="*/ 52 h 114"/>
                <a:gd name="T26" fmla="*/ 20 w 296"/>
                <a:gd name="T27" fmla="*/ 58 h 114"/>
                <a:gd name="T28" fmla="*/ 26 w 296"/>
                <a:gd name="T29" fmla="*/ 62 h 114"/>
                <a:gd name="T30" fmla="*/ 42 w 296"/>
                <a:gd name="T31" fmla="*/ 70 h 114"/>
                <a:gd name="T32" fmla="*/ 58 w 296"/>
                <a:gd name="T33" fmla="*/ 74 h 114"/>
                <a:gd name="T34" fmla="*/ 94 w 296"/>
                <a:gd name="T35" fmla="*/ 80 h 114"/>
                <a:gd name="T36" fmla="*/ 110 w 296"/>
                <a:gd name="T37" fmla="*/ 84 h 114"/>
                <a:gd name="T38" fmla="*/ 128 w 296"/>
                <a:gd name="T39" fmla="*/ 88 h 114"/>
                <a:gd name="T40" fmla="*/ 128 w 296"/>
                <a:gd name="T41" fmla="*/ 88 h 114"/>
                <a:gd name="T42" fmla="*/ 184 w 296"/>
                <a:gd name="T43" fmla="*/ 104 h 114"/>
                <a:gd name="T44" fmla="*/ 214 w 296"/>
                <a:gd name="T45" fmla="*/ 112 h 114"/>
                <a:gd name="T46" fmla="*/ 228 w 296"/>
                <a:gd name="T47" fmla="*/ 114 h 114"/>
                <a:gd name="T48" fmla="*/ 244 w 296"/>
                <a:gd name="T49" fmla="*/ 114 h 114"/>
                <a:gd name="T50" fmla="*/ 244 w 296"/>
                <a:gd name="T51" fmla="*/ 114 h 114"/>
                <a:gd name="T52" fmla="*/ 258 w 296"/>
                <a:gd name="T53" fmla="*/ 114 h 114"/>
                <a:gd name="T54" fmla="*/ 270 w 296"/>
                <a:gd name="T55" fmla="*/ 112 h 114"/>
                <a:gd name="T56" fmla="*/ 284 w 296"/>
                <a:gd name="T57" fmla="*/ 106 h 114"/>
                <a:gd name="T58" fmla="*/ 296 w 296"/>
                <a:gd name="T59" fmla="*/ 100 h 114"/>
                <a:gd name="T60" fmla="*/ 296 w 296"/>
                <a:gd name="T61" fmla="*/ 100 h 114"/>
                <a:gd name="T62" fmla="*/ 296 w 296"/>
                <a:gd name="T63" fmla="*/ 92 h 114"/>
                <a:gd name="T64" fmla="*/ 292 w 296"/>
                <a:gd name="T65" fmla="*/ 86 h 114"/>
                <a:gd name="T66" fmla="*/ 284 w 296"/>
                <a:gd name="T67" fmla="*/ 74 h 114"/>
                <a:gd name="T68" fmla="*/ 272 w 296"/>
                <a:gd name="T69" fmla="*/ 62 h 114"/>
                <a:gd name="T70" fmla="*/ 256 w 296"/>
                <a:gd name="T71" fmla="*/ 52 h 114"/>
                <a:gd name="T72" fmla="*/ 224 w 296"/>
                <a:gd name="T73" fmla="*/ 30 h 114"/>
                <a:gd name="T74" fmla="*/ 210 w 296"/>
                <a:gd name="T75" fmla="*/ 18 h 114"/>
                <a:gd name="T76" fmla="*/ 198 w 296"/>
                <a:gd name="T77" fmla="*/ 6 h 114"/>
                <a:gd name="T78" fmla="*/ 198 w 296"/>
                <a:gd name="T79" fmla="*/ 6 h 114"/>
                <a:gd name="T80" fmla="*/ 168 w 296"/>
                <a:gd name="T81" fmla="*/ 0 h 114"/>
                <a:gd name="T82" fmla="*/ 138 w 296"/>
                <a:gd name="T8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14">
                  <a:moveTo>
                    <a:pt x="138" y="0"/>
                  </a:moveTo>
                  <a:lnTo>
                    <a:pt x="138" y="0"/>
                  </a:lnTo>
                  <a:lnTo>
                    <a:pt x="104" y="0"/>
                  </a:lnTo>
                  <a:lnTo>
                    <a:pt x="70" y="4"/>
                  </a:lnTo>
                  <a:lnTo>
                    <a:pt x="36" y="6"/>
                  </a:lnTo>
                  <a:lnTo>
                    <a:pt x="2" y="8"/>
                  </a:lnTo>
                  <a:lnTo>
                    <a:pt x="2" y="8"/>
                  </a:lnTo>
                  <a:lnTo>
                    <a:pt x="0" y="14"/>
                  </a:lnTo>
                  <a:lnTo>
                    <a:pt x="0" y="22"/>
                  </a:lnTo>
                  <a:lnTo>
                    <a:pt x="4" y="36"/>
                  </a:lnTo>
                  <a:lnTo>
                    <a:pt x="4" y="36"/>
                  </a:lnTo>
                  <a:lnTo>
                    <a:pt x="8" y="44"/>
                  </a:lnTo>
                  <a:lnTo>
                    <a:pt x="14" y="52"/>
                  </a:lnTo>
                  <a:lnTo>
                    <a:pt x="20" y="58"/>
                  </a:lnTo>
                  <a:lnTo>
                    <a:pt x="26" y="62"/>
                  </a:lnTo>
                  <a:lnTo>
                    <a:pt x="42" y="70"/>
                  </a:lnTo>
                  <a:lnTo>
                    <a:pt x="58" y="74"/>
                  </a:lnTo>
                  <a:lnTo>
                    <a:pt x="94" y="80"/>
                  </a:lnTo>
                  <a:lnTo>
                    <a:pt x="110" y="84"/>
                  </a:lnTo>
                  <a:lnTo>
                    <a:pt x="128" y="88"/>
                  </a:lnTo>
                  <a:lnTo>
                    <a:pt x="128" y="88"/>
                  </a:lnTo>
                  <a:lnTo>
                    <a:pt x="184" y="104"/>
                  </a:lnTo>
                  <a:lnTo>
                    <a:pt x="214" y="112"/>
                  </a:lnTo>
                  <a:lnTo>
                    <a:pt x="228" y="114"/>
                  </a:lnTo>
                  <a:lnTo>
                    <a:pt x="244" y="114"/>
                  </a:lnTo>
                  <a:lnTo>
                    <a:pt x="244" y="114"/>
                  </a:lnTo>
                  <a:lnTo>
                    <a:pt x="258" y="114"/>
                  </a:lnTo>
                  <a:lnTo>
                    <a:pt x="270" y="112"/>
                  </a:lnTo>
                  <a:lnTo>
                    <a:pt x="284" y="106"/>
                  </a:lnTo>
                  <a:lnTo>
                    <a:pt x="296" y="100"/>
                  </a:lnTo>
                  <a:lnTo>
                    <a:pt x="296" y="100"/>
                  </a:lnTo>
                  <a:lnTo>
                    <a:pt x="296" y="92"/>
                  </a:lnTo>
                  <a:lnTo>
                    <a:pt x="292" y="86"/>
                  </a:lnTo>
                  <a:lnTo>
                    <a:pt x="284" y="74"/>
                  </a:lnTo>
                  <a:lnTo>
                    <a:pt x="272" y="62"/>
                  </a:lnTo>
                  <a:lnTo>
                    <a:pt x="256" y="52"/>
                  </a:lnTo>
                  <a:lnTo>
                    <a:pt x="224" y="30"/>
                  </a:lnTo>
                  <a:lnTo>
                    <a:pt x="210" y="18"/>
                  </a:lnTo>
                  <a:lnTo>
                    <a:pt x="198" y="6"/>
                  </a:lnTo>
                  <a:lnTo>
                    <a:pt x="198" y="6"/>
                  </a:lnTo>
                  <a:lnTo>
                    <a:pt x="168" y="0"/>
                  </a:lnTo>
                  <a:lnTo>
                    <a:pt x="13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9"/>
            <p:cNvSpPr>
              <a:spLocks/>
            </p:cNvSpPr>
            <p:nvPr/>
          </p:nvSpPr>
          <p:spPr bwMode="auto">
            <a:xfrm>
              <a:off x="14012141" y="4545296"/>
              <a:ext cx="44450" cy="53975"/>
            </a:xfrm>
            <a:custGeom>
              <a:avLst/>
              <a:gdLst>
                <a:gd name="T0" fmla="*/ 18 w 28"/>
                <a:gd name="T1" fmla="*/ 0 h 34"/>
                <a:gd name="T2" fmla="*/ 18 w 28"/>
                <a:gd name="T3" fmla="*/ 0 h 34"/>
                <a:gd name="T4" fmla="*/ 12 w 28"/>
                <a:gd name="T5" fmla="*/ 0 h 34"/>
                <a:gd name="T6" fmla="*/ 6 w 28"/>
                <a:gd name="T7" fmla="*/ 4 h 34"/>
                <a:gd name="T8" fmla="*/ 2 w 28"/>
                <a:gd name="T9" fmla="*/ 8 h 34"/>
                <a:gd name="T10" fmla="*/ 0 w 28"/>
                <a:gd name="T11" fmla="*/ 14 h 34"/>
                <a:gd name="T12" fmla="*/ 0 w 28"/>
                <a:gd name="T13" fmla="*/ 14 h 34"/>
                <a:gd name="T14" fmla="*/ 2 w 28"/>
                <a:gd name="T15" fmla="*/ 22 h 34"/>
                <a:gd name="T16" fmla="*/ 4 w 28"/>
                <a:gd name="T17" fmla="*/ 28 h 34"/>
                <a:gd name="T18" fmla="*/ 8 w 28"/>
                <a:gd name="T19" fmla="*/ 32 h 34"/>
                <a:gd name="T20" fmla="*/ 12 w 28"/>
                <a:gd name="T21" fmla="*/ 34 h 34"/>
                <a:gd name="T22" fmla="*/ 12 w 28"/>
                <a:gd name="T23" fmla="*/ 34 h 34"/>
                <a:gd name="T24" fmla="*/ 16 w 28"/>
                <a:gd name="T25" fmla="*/ 32 h 34"/>
                <a:gd name="T26" fmla="*/ 20 w 28"/>
                <a:gd name="T27" fmla="*/ 28 h 34"/>
                <a:gd name="T28" fmla="*/ 22 w 28"/>
                <a:gd name="T29" fmla="*/ 24 h 34"/>
                <a:gd name="T30" fmla="*/ 26 w 28"/>
                <a:gd name="T31" fmla="*/ 16 h 34"/>
                <a:gd name="T32" fmla="*/ 26 w 28"/>
                <a:gd name="T33" fmla="*/ 16 h 34"/>
                <a:gd name="T34" fmla="*/ 28 w 28"/>
                <a:gd name="T35" fmla="*/ 8 h 34"/>
                <a:gd name="T36" fmla="*/ 26 w 28"/>
                <a:gd name="T37" fmla="*/ 4 h 34"/>
                <a:gd name="T38" fmla="*/ 22 w 28"/>
                <a:gd name="T39" fmla="*/ 0 h 34"/>
                <a:gd name="T40" fmla="*/ 18 w 28"/>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4">
                  <a:moveTo>
                    <a:pt x="18" y="0"/>
                  </a:moveTo>
                  <a:lnTo>
                    <a:pt x="18" y="0"/>
                  </a:lnTo>
                  <a:lnTo>
                    <a:pt x="12" y="0"/>
                  </a:lnTo>
                  <a:lnTo>
                    <a:pt x="6" y="4"/>
                  </a:lnTo>
                  <a:lnTo>
                    <a:pt x="2" y="8"/>
                  </a:lnTo>
                  <a:lnTo>
                    <a:pt x="0" y="14"/>
                  </a:lnTo>
                  <a:lnTo>
                    <a:pt x="0" y="14"/>
                  </a:lnTo>
                  <a:lnTo>
                    <a:pt x="2" y="22"/>
                  </a:lnTo>
                  <a:lnTo>
                    <a:pt x="4" y="28"/>
                  </a:lnTo>
                  <a:lnTo>
                    <a:pt x="8" y="32"/>
                  </a:lnTo>
                  <a:lnTo>
                    <a:pt x="12" y="34"/>
                  </a:lnTo>
                  <a:lnTo>
                    <a:pt x="12" y="34"/>
                  </a:lnTo>
                  <a:lnTo>
                    <a:pt x="16" y="32"/>
                  </a:lnTo>
                  <a:lnTo>
                    <a:pt x="20" y="28"/>
                  </a:lnTo>
                  <a:lnTo>
                    <a:pt x="22" y="24"/>
                  </a:lnTo>
                  <a:lnTo>
                    <a:pt x="26" y="16"/>
                  </a:lnTo>
                  <a:lnTo>
                    <a:pt x="26" y="16"/>
                  </a:lnTo>
                  <a:lnTo>
                    <a:pt x="28" y="8"/>
                  </a:lnTo>
                  <a:lnTo>
                    <a:pt x="26" y="4"/>
                  </a:lnTo>
                  <a:lnTo>
                    <a:pt x="22" y="0"/>
                  </a:lnTo>
                  <a:lnTo>
                    <a:pt x="1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30"/>
            <p:cNvSpPr>
              <a:spLocks/>
            </p:cNvSpPr>
            <p:nvPr/>
          </p:nvSpPr>
          <p:spPr bwMode="auto">
            <a:xfrm>
              <a:off x="13732741" y="4246846"/>
              <a:ext cx="403225" cy="263525"/>
            </a:xfrm>
            <a:custGeom>
              <a:avLst/>
              <a:gdLst>
                <a:gd name="T0" fmla="*/ 238 w 254"/>
                <a:gd name="T1" fmla="*/ 0 h 166"/>
                <a:gd name="T2" fmla="*/ 228 w 254"/>
                <a:gd name="T3" fmla="*/ 12 h 166"/>
                <a:gd name="T4" fmla="*/ 224 w 254"/>
                <a:gd name="T5" fmla="*/ 22 h 166"/>
                <a:gd name="T6" fmla="*/ 210 w 254"/>
                <a:gd name="T7" fmla="*/ 40 h 166"/>
                <a:gd name="T8" fmla="*/ 194 w 254"/>
                <a:gd name="T9" fmla="*/ 52 h 166"/>
                <a:gd name="T10" fmla="*/ 176 w 254"/>
                <a:gd name="T11" fmla="*/ 58 h 166"/>
                <a:gd name="T12" fmla="*/ 166 w 254"/>
                <a:gd name="T13" fmla="*/ 58 h 166"/>
                <a:gd name="T14" fmla="*/ 154 w 254"/>
                <a:gd name="T15" fmla="*/ 56 h 166"/>
                <a:gd name="T16" fmla="*/ 142 w 254"/>
                <a:gd name="T17" fmla="*/ 48 h 166"/>
                <a:gd name="T18" fmla="*/ 138 w 254"/>
                <a:gd name="T19" fmla="*/ 34 h 166"/>
                <a:gd name="T20" fmla="*/ 140 w 254"/>
                <a:gd name="T21" fmla="*/ 12 h 166"/>
                <a:gd name="T22" fmla="*/ 134 w 254"/>
                <a:gd name="T23" fmla="*/ 6 h 166"/>
                <a:gd name="T24" fmla="*/ 128 w 254"/>
                <a:gd name="T25" fmla="*/ 4 h 166"/>
                <a:gd name="T26" fmla="*/ 114 w 254"/>
                <a:gd name="T27" fmla="*/ 10 h 166"/>
                <a:gd name="T28" fmla="*/ 96 w 254"/>
                <a:gd name="T29" fmla="*/ 26 h 166"/>
                <a:gd name="T30" fmla="*/ 78 w 254"/>
                <a:gd name="T31" fmla="*/ 42 h 166"/>
                <a:gd name="T32" fmla="*/ 58 w 254"/>
                <a:gd name="T33" fmla="*/ 48 h 166"/>
                <a:gd name="T34" fmla="*/ 52 w 254"/>
                <a:gd name="T35" fmla="*/ 48 h 166"/>
                <a:gd name="T36" fmla="*/ 46 w 254"/>
                <a:gd name="T37" fmla="*/ 46 h 166"/>
                <a:gd name="T38" fmla="*/ 26 w 254"/>
                <a:gd name="T39" fmla="*/ 52 h 166"/>
                <a:gd name="T40" fmla="*/ 12 w 254"/>
                <a:gd name="T41" fmla="*/ 66 h 166"/>
                <a:gd name="T42" fmla="*/ 4 w 254"/>
                <a:gd name="T43" fmla="*/ 86 h 166"/>
                <a:gd name="T44" fmla="*/ 0 w 254"/>
                <a:gd name="T45" fmla="*/ 106 h 166"/>
                <a:gd name="T46" fmla="*/ 4 w 254"/>
                <a:gd name="T47" fmla="*/ 126 h 166"/>
                <a:gd name="T48" fmla="*/ 12 w 254"/>
                <a:gd name="T49" fmla="*/ 144 h 166"/>
                <a:gd name="T50" fmla="*/ 26 w 254"/>
                <a:gd name="T51" fmla="*/ 158 h 166"/>
                <a:gd name="T52" fmla="*/ 46 w 254"/>
                <a:gd name="T53" fmla="*/ 164 h 166"/>
                <a:gd name="T54" fmla="*/ 66 w 254"/>
                <a:gd name="T55" fmla="*/ 158 h 166"/>
                <a:gd name="T56" fmla="*/ 102 w 254"/>
                <a:gd name="T57" fmla="*/ 140 h 166"/>
                <a:gd name="T58" fmla="*/ 120 w 254"/>
                <a:gd name="T59" fmla="*/ 138 h 166"/>
                <a:gd name="T60" fmla="*/ 128 w 254"/>
                <a:gd name="T61" fmla="*/ 138 h 166"/>
                <a:gd name="T62" fmla="*/ 144 w 254"/>
                <a:gd name="T63" fmla="*/ 146 h 166"/>
                <a:gd name="T64" fmla="*/ 152 w 254"/>
                <a:gd name="T65" fmla="*/ 152 h 166"/>
                <a:gd name="T66" fmla="*/ 168 w 254"/>
                <a:gd name="T67" fmla="*/ 162 h 166"/>
                <a:gd name="T68" fmla="*/ 186 w 254"/>
                <a:gd name="T69" fmla="*/ 166 h 166"/>
                <a:gd name="T70" fmla="*/ 194 w 254"/>
                <a:gd name="T71" fmla="*/ 164 h 166"/>
                <a:gd name="T72" fmla="*/ 216 w 254"/>
                <a:gd name="T73" fmla="*/ 156 h 166"/>
                <a:gd name="T74" fmla="*/ 240 w 254"/>
                <a:gd name="T75" fmla="*/ 132 h 166"/>
                <a:gd name="T76" fmla="*/ 252 w 254"/>
                <a:gd name="T77" fmla="*/ 100 h 166"/>
                <a:gd name="T78" fmla="*/ 252 w 254"/>
                <a:gd name="T79" fmla="*/ 74 h 166"/>
                <a:gd name="T80" fmla="*/ 250 w 254"/>
                <a:gd name="T81" fmla="*/ 66 h 166"/>
                <a:gd name="T82" fmla="*/ 246 w 254"/>
                <a:gd name="T83" fmla="*/ 50 h 166"/>
                <a:gd name="T84" fmla="*/ 244 w 254"/>
                <a:gd name="T85" fmla="*/ 8 h 166"/>
                <a:gd name="T86" fmla="*/ 238 w 254"/>
                <a:gd name="T8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166">
                  <a:moveTo>
                    <a:pt x="238" y="0"/>
                  </a:moveTo>
                  <a:lnTo>
                    <a:pt x="238" y="0"/>
                  </a:lnTo>
                  <a:lnTo>
                    <a:pt x="234" y="4"/>
                  </a:lnTo>
                  <a:lnTo>
                    <a:pt x="228" y="12"/>
                  </a:lnTo>
                  <a:lnTo>
                    <a:pt x="228" y="12"/>
                  </a:lnTo>
                  <a:lnTo>
                    <a:pt x="224" y="22"/>
                  </a:lnTo>
                  <a:lnTo>
                    <a:pt x="218" y="32"/>
                  </a:lnTo>
                  <a:lnTo>
                    <a:pt x="210" y="40"/>
                  </a:lnTo>
                  <a:lnTo>
                    <a:pt x="202" y="46"/>
                  </a:lnTo>
                  <a:lnTo>
                    <a:pt x="194" y="52"/>
                  </a:lnTo>
                  <a:lnTo>
                    <a:pt x="184" y="56"/>
                  </a:lnTo>
                  <a:lnTo>
                    <a:pt x="176" y="58"/>
                  </a:lnTo>
                  <a:lnTo>
                    <a:pt x="166" y="58"/>
                  </a:lnTo>
                  <a:lnTo>
                    <a:pt x="166" y="58"/>
                  </a:lnTo>
                  <a:lnTo>
                    <a:pt x="160" y="58"/>
                  </a:lnTo>
                  <a:lnTo>
                    <a:pt x="154" y="56"/>
                  </a:lnTo>
                  <a:lnTo>
                    <a:pt x="148" y="52"/>
                  </a:lnTo>
                  <a:lnTo>
                    <a:pt x="142" y="48"/>
                  </a:lnTo>
                  <a:lnTo>
                    <a:pt x="140" y="42"/>
                  </a:lnTo>
                  <a:lnTo>
                    <a:pt x="138" y="34"/>
                  </a:lnTo>
                  <a:lnTo>
                    <a:pt x="138" y="24"/>
                  </a:lnTo>
                  <a:lnTo>
                    <a:pt x="140" y="12"/>
                  </a:lnTo>
                  <a:lnTo>
                    <a:pt x="140" y="12"/>
                  </a:lnTo>
                  <a:lnTo>
                    <a:pt x="134" y="6"/>
                  </a:lnTo>
                  <a:lnTo>
                    <a:pt x="128" y="4"/>
                  </a:lnTo>
                  <a:lnTo>
                    <a:pt x="128" y="4"/>
                  </a:lnTo>
                  <a:lnTo>
                    <a:pt x="120" y="6"/>
                  </a:lnTo>
                  <a:lnTo>
                    <a:pt x="114" y="10"/>
                  </a:lnTo>
                  <a:lnTo>
                    <a:pt x="96" y="26"/>
                  </a:lnTo>
                  <a:lnTo>
                    <a:pt x="96" y="26"/>
                  </a:lnTo>
                  <a:lnTo>
                    <a:pt x="88" y="34"/>
                  </a:lnTo>
                  <a:lnTo>
                    <a:pt x="78" y="42"/>
                  </a:lnTo>
                  <a:lnTo>
                    <a:pt x="68" y="48"/>
                  </a:lnTo>
                  <a:lnTo>
                    <a:pt x="58" y="48"/>
                  </a:lnTo>
                  <a:lnTo>
                    <a:pt x="58" y="48"/>
                  </a:lnTo>
                  <a:lnTo>
                    <a:pt x="52" y="48"/>
                  </a:lnTo>
                  <a:lnTo>
                    <a:pt x="46" y="46"/>
                  </a:lnTo>
                  <a:lnTo>
                    <a:pt x="46" y="46"/>
                  </a:lnTo>
                  <a:lnTo>
                    <a:pt x="36" y="48"/>
                  </a:lnTo>
                  <a:lnTo>
                    <a:pt x="26" y="52"/>
                  </a:lnTo>
                  <a:lnTo>
                    <a:pt x="18" y="60"/>
                  </a:lnTo>
                  <a:lnTo>
                    <a:pt x="12" y="66"/>
                  </a:lnTo>
                  <a:lnTo>
                    <a:pt x="6" y="76"/>
                  </a:lnTo>
                  <a:lnTo>
                    <a:pt x="4" y="86"/>
                  </a:lnTo>
                  <a:lnTo>
                    <a:pt x="2" y="96"/>
                  </a:lnTo>
                  <a:lnTo>
                    <a:pt x="0" y="106"/>
                  </a:lnTo>
                  <a:lnTo>
                    <a:pt x="2" y="116"/>
                  </a:lnTo>
                  <a:lnTo>
                    <a:pt x="4" y="126"/>
                  </a:lnTo>
                  <a:lnTo>
                    <a:pt x="8" y="136"/>
                  </a:lnTo>
                  <a:lnTo>
                    <a:pt x="12" y="144"/>
                  </a:lnTo>
                  <a:lnTo>
                    <a:pt x="18" y="152"/>
                  </a:lnTo>
                  <a:lnTo>
                    <a:pt x="26" y="158"/>
                  </a:lnTo>
                  <a:lnTo>
                    <a:pt x="36" y="162"/>
                  </a:lnTo>
                  <a:lnTo>
                    <a:pt x="46" y="164"/>
                  </a:lnTo>
                  <a:lnTo>
                    <a:pt x="46" y="164"/>
                  </a:lnTo>
                  <a:lnTo>
                    <a:pt x="66" y="158"/>
                  </a:lnTo>
                  <a:lnTo>
                    <a:pt x="84" y="148"/>
                  </a:lnTo>
                  <a:lnTo>
                    <a:pt x="102" y="140"/>
                  </a:lnTo>
                  <a:lnTo>
                    <a:pt x="110" y="138"/>
                  </a:lnTo>
                  <a:lnTo>
                    <a:pt x="120" y="138"/>
                  </a:lnTo>
                  <a:lnTo>
                    <a:pt x="120" y="138"/>
                  </a:lnTo>
                  <a:lnTo>
                    <a:pt x="128" y="138"/>
                  </a:lnTo>
                  <a:lnTo>
                    <a:pt x="136" y="140"/>
                  </a:lnTo>
                  <a:lnTo>
                    <a:pt x="144" y="146"/>
                  </a:lnTo>
                  <a:lnTo>
                    <a:pt x="152" y="152"/>
                  </a:lnTo>
                  <a:lnTo>
                    <a:pt x="152" y="152"/>
                  </a:lnTo>
                  <a:lnTo>
                    <a:pt x="160" y="158"/>
                  </a:lnTo>
                  <a:lnTo>
                    <a:pt x="168" y="162"/>
                  </a:lnTo>
                  <a:lnTo>
                    <a:pt x="178" y="164"/>
                  </a:lnTo>
                  <a:lnTo>
                    <a:pt x="186" y="166"/>
                  </a:lnTo>
                  <a:lnTo>
                    <a:pt x="186" y="166"/>
                  </a:lnTo>
                  <a:lnTo>
                    <a:pt x="194" y="164"/>
                  </a:lnTo>
                  <a:lnTo>
                    <a:pt x="202" y="164"/>
                  </a:lnTo>
                  <a:lnTo>
                    <a:pt x="216" y="156"/>
                  </a:lnTo>
                  <a:lnTo>
                    <a:pt x="230" y="146"/>
                  </a:lnTo>
                  <a:lnTo>
                    <a:pt x="240" y="132"/>
                  </a:lnTo>
                  <a:lnTo>
                    <a:pt x="248" y="116"/>
                  </a:lnTo>
                  <a:lnTo>
                    <a:pt x="252" y="100"/>
                  </a:lnTo>
                  <a:lnTo>
                    <a:pt x="254" y="84"/>
                  </a:lnTo>
                  <a:lnTo>
                    <a:pt x="252" y="74"/>
                  </a:lnTo>
                  <a:lnTo>
                    <a:pt x="250" y="66"/>
                  </a:lnTo>
                  <a:lnTo>
                    <a:pt x="250" y="66"/>
                  </a:lnTo>
                  <a:lnTo>
                    <a:pt x="248" y="60"/>
                  </a:lnTo>
                  <a:lnTo>
                    <a:pt x="246" y="50"/>
                  </a:lnTo>
                  <a:lnTo>
                    <a:pt x="244" y="28"/>
                  </a:lnTo>
                  <a:lnTo>
                    <a:pt x="244" y="8"/>
                  </a:lnTo>
                  <a:lnTo>
                    <a:pt x="242" y="2"/>
                  </a:lnTo>
                  <a:lnTo>
                    <a:pt x="23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31"/>
            <p:cNvSpPr>
              <a:spLocks/>
            </p:cNvSpPr>
            <p:nvPr/>
          </p:nvSpPr>
          <p:spPr bwMode="auto">
            <a:xfrm>
              <a:off x="14126441" y="3732496"/>
              <a:ext cx="228600" cy="314325"/>
            </a:xfrm>
            <a:custGeom>
              <a:avLst/>
              <a:gdLst>
                <a:gd name="T0" fmla="*/ 30 w 144"/>
                <a:gd name="T1" fmla="*/ 0 h 198"/>
                <a:gd name="T2" fmla="*/ 30 w 144"/>
                <a:gd name="T3" fmla="*/ 0 h 198"/>
                <a:gd name="T4" fmla="*/ 18 w 144"/>
                <a:gd name="T5" fmla="*/ 2 h 198"/>
                <a:gd name="T6" fmla="*/ 12 w 144"/>
                <a:gd name="T7" fmla="*/ 6 h 198"/>
                <a:gd name="T8" fmla="*/ 8 w 144"/>
                <a:gd name="T9" fmla="*/ 8 h 198"/>
                <a:gd name="T10" fmla="*/ 4 w 144"/>
                <a:gd name="T11" fmla="*/ 14 h 198"/>
                <a:gd name="T12" fmla="*/ 2 w 144"/>
                <a:gd name="T13" fmla="*/ 18 h 198"/>
                <a:gd name="T14" fmla="*/ 0 w 144"/>
                <a:gd name="T15" fmla="*/ 26 h 198"/>
                <a:gd name="T16" fmla="*/ 0 w 144"/>
                <a:gd name="T17" fmla="*/ 34 h 198"/>
                <a:gd name="T18" fmla="*/ 0 w 144"/>
                <a:gd name="T19" fmla="*/ 34 h 198"/>
                <a:gd name="T20" fmla="*/ 4 w 144"/>
                <a:gd name="T21" fmla="*/ 34 h 198"/>
                <a:gd name="T22" fmla="*/ 4 w 144"/>
                <a:gd name="T23" fmla="*/ 34 h 198"/>
                <a:gd name="T24" fmla="*/ 14 w 144"/>
                <a:gd name="T25" fmla="*/ 34 h 198"/>
                <a:gd name="T26" fmla="*/ 22 w 144"/>
                <a:gd name="T27" fmla="*/ 36 h 198"/>
                <a:gd name="T28" fmla="*/ 30 w 144"/>
                <a:gd name="T29" fmla="*/ 40 h 198"/>
                <a:gd name="T30" fmla="*/ 36 w 144"/>
                <a:gd name="T31" fmla="*/ 44 h 198"/>
                <a:gd name="T32" fmla="*/ 48 w 144"/>
                <a:gd name="T33" fmla="*/ 54 h 198"/>
                <a:gd name="T34" fmla="*/ 58 w 144"/>
                <a:gd name="T35" fmla="*/ 68 h 198"/>
                <a:gd name="T36" fmla="*/ 64 w 144"/>
                <a:gd name="T37" fmla="*/ 84 h 198"/>
                <a:gd name="T38" fmla="*/ 68 w 144"/>
                <a:gd name="T39" fmla="*/ 100 h 198"/>
                <a:gd name="T40" fmla="*/ 70 w 144"/>
                <a:gd name="T41" fmla="*/ 118 h 198"/>
                <a:gd name="T42" fmla="*/ 70 w 144"/>
                <a:gd name="T43" fmla="*/ 134 h 198"/>
                <a:gd name="T44" fmla="*/ 70 w 144"/>
                <a:gd name="T45" fmla="*/ 134 h 198"/>
                <a:gd name="T46" fmla="*/ 64 w 144"/>
                <a:gd name="T47" fmla="*/ 146 h 198"/>
                <a:gd name="T48" fmla="*/ 62 w 144"/>
                <a:gd name="T49" fmla="*/ 158 h 198"/>
                <a:gd name="T50" fmla="*/ 64 w 144"/>
                <a:gd name="T51" fmla="*/ 168 h 198"/>
                <a:gd name="T52" fmla="*/ 68 w 144"/>
                <a:gd name="T53" fmla="*/ 178 h 198"/>
                <a:gd name="T54" fmla="*/ 74 w 144"/>
                <a:gd name="T55" fmla="*/ 186 h 198"/>
                <a:gd name="T56" fmla="*/ 82 w 144"/>
                <a:gd name="T57" fmla="*/ 192 h 198"/>
                <a:gd name="T58" fmla="*/ 90 w 144"/>
                <a:gd name="T59" fmla="*/ 196 h 198"/>
                <a:gd name="T60" fmla="*/ 100 w 144"/>
                <a:gd name="T61" fmla="*/ 198 h 198"/>
                <a:gd name="T62" fmla="*/ 100 w 144"/>
                <a:gd name="T63" fmla="*/ 198 h 198"/>
                <a:gd name="T64" fmla="*/ 110 w 144"/>
                <a:gd name="T65" fmla="*/ 196 h 198"/>
                <a:gd name="T66" fmla="*/ 118 w 144"/>
                <a:gd name="T67" fmla="*/ 192 h 198"/>
                <a:gd name="T68" fmla="*/ 126 w 144"/>
                <a:gd name="T69" fmla="*/ 186 h 198"/>
                <a:gd name="T70" fmla="*/ 134 w 144"/>
                <a:gd name="T71" fmla="*/ 176 h 198"/>
                <a:gd name="T72" fmla="*/ 134 w 144"/>
                <a:gd name="T73" fmla="*/ 176 h 198"/>
                <a:gd name="T74" fmla="*/ 140 w 144"/>
                <a:gd name="T75" fmla="*/ 166 h 198"/>
                <a:gd name="T76" fmla="*/ 142 w 144"/>
                <a:gd name="T77" fmla="*/ 154 h 198"/>
                <a:gd name="T78" fmla="*/ 144 w 144"/>
                <a:gd name="T79" fmla="*/ 142 h 198"/>
                <a:gd name="T80" fmla="*/ 144 w 144"/>
                <a:gd name="T81" fmla="*/ 130 h 198"/>
                <a:gd name="T82" fmla="*/ 142 w 144"/>
                <a:gd name="T83" fmla="*/ 118 h 198"/>
                <a:gd name="T84" fmla="*/ 140 w 144"/>
                <a:gd name="T85" fmla="*/ 108 h 198"/>
                <a:gd name="T86" fmla="*/ 130 w 144"/>
                <a:gd name="T87" fmla="*/ 84 h 198"/>
                <a:gd name="T88" fmla="*/ 116 w 144"/>
                <a:gd name="T89" fmla="*/ 62 h 198"/>
                <a:gd name="T90" fmla="*/ 100 w 144"/>
                <a:gd name="T91" fmla="*/ 44 h 198"/>
                <a:gd name="T92" fmla="*/ 82 w 144"/>
                <a:gd name="T93" fmla="*/ 26 h 198"/>
                <a:gd name="T94" fmla="*/ 62 w 144"/>
                <a:gd name="T95" fmla="*/ 12 h 198"/>
                <a:gd name="T96" fmla="*/ 62 w 144"/>
                <a:gd name="T97" fmla="*/ 12 h 198"/>
                <a:gd name="T98" fmla="*/ 56 w 144"/>
                <a:gd name="T99" fmla="*/ 8 h 198"/>
                <a:gd name="T100" fmla="*/ 48 w 144"/>
                <a:gd name="T101" fmla="*/ 4 h 198"/>
                <a:gd name="T102" fmla="*/ 38 w 144"/>
                <a:gd name="T103" fmla="*/ 2 h 198"/>
                <a:gd name="T104" fmla="*/ 30 w 144"/>
                <a:gd name="T10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98">
                  <a:moveTo>
                    <a:pt x="30" y="0"/>
                  </a:moveTo>
                  <a:lnTo>
                    <a:pt x="30" y="0"/>
                  </a:lnTo>
                  <a:lnTo>
                    <a:pt x="18" y="2"/>
                  </a:lnTo>
                  <a:lnTo>
                    <a:pt x="12" y="6"/>
                  </a:lnTo>
                  <a:lnTo>
                    <a:pt x="8" y="8"/>
                  </a:lnTo>
                  <a:lnTo>
                    <a:pt x="4" y="14"/>
                  </a:lnTo>
                  <a:lnTo>
                    <a:pt x="2" y="18"/>
                  </a:lnTo>
                  <a:lnTo>
                    <a:pt x="0" y="26"/>
                  </a:lnTo>
                  <a:lnTo>
                    <a:pt x="0" y="34"/>
                  </a:lnTo>
                  <a:lnTo>
                    <a:pt x="0" y="34"/>
                  </a:lnTo>
                  <a:lnTo>
                    <a:pt x="4" y="34"/>
                  </a:lnTo>
                  <a:lnTo>
                    <a:pt x="4" y="34"/>
                  </a:lnTo>
                  <a:lnTo>
                    <a:pt x="14" y="34"/>
                  </a:lnTo>
                  <a:lnTo>
                    <a:pt x="22" y="36"/>
                  </a:lnTo>
                  <a:lnTo>
                    <a:pt x="30" y="40"/>
                  </a:lnTo>
                  <a:lnTo>
                    <a:pt x="36" y="44"/>
                  </a:lnTo>
                  <a:lnTo>
                    <a:pt x="48" y="54"/>
                  </a:lnTo>
                  <a:lnTo>
                    <a:pt x="58" y="68"/>
                  </a:lnTo>
                  <a:lnTo>
                    <a:pt x="64" y="84"/>
                  </a:lnTo>
                  <a:lnTo>
                    <a:pt x="68" y="100"/>
                  </a:lnTo>
                  <a:lnTo>
                    <a:pt x="70" y="118"/>
                  </a:lnTo>
                  <a:lnTo>
                    <a:pt x="70" y="134"/>
                  </a:lnTo>
                  <a:lnTo>
                    <a:pt x="70" y="134"/>
                  </a:lnTo>
                  <a:lnTo>
                    <a:pt x="64" y="146"/>
                  </a:lnTo>
                  <a:lnTo>
                    <a:pt x="62" y="158"/>
                  </a:lnTo>
                  <a:lnTo>
                    <a:pt x="64" y="168"/>
                  </a:lnTo>
                  <a:lnTo>
                    <a:pt x="68" y="178"/>
                  </a:lnTo>
                  <a:lnTo>
                    <a:pt x="74" y="186"/>
                  </a:lnTo>
                  <a:lnTo>
                    <a:pt x="82" y="192"/>
                  </a:lnTo>
                  <a:lnTo>
                    <a:pt x="90" y="196"/>
                  </a:lnTo>
                  <a:lnTo>
                    <a:pt x="100" y="198"/>
                  </a:lnTo>
                  <a:lnTo>
                    <a:pt x="100" y="198"/>
                  </a:lnTo>
                  <a:lnTo>
                    <a:pt x="110" y="196"/>
                  </a:lnTo>
                  <a:lnTo>
                    <a:pt x="118" y="192"/>
                  </a:lnTo>
                  <a:lnTo>
                    <a:pt x="126" y="186"/>
                  </a:lnTo>
                  <a:lnTo>
                    <a:pt x="134" y="176"/>
                  </a:lnTo>
                  <a:lnTo>
                    <a:pt x="134" y="176"/>
                  </a:lnTo>
                  <a:lnTo>
                    <a:pt x="140" y="166"/>
                  </a:lnTo>
                  <a:lnTo>
                    <a:pt x="142" y="154"/>
                  </a:lnTo>
                  <a:lnTo>
                    <a:pt x="144" y="142"/>
                  </a:lnTo>
                  <a:lnTo>
                    <a:pt x="144" y="130"/>
                  </a:lnTo>
                  <a:lnTo>
                    <a:pt x="142" y="118"/>
                  </a:lnTo>
                  <a:lnTo>
                    <a:pt x="140" y="108"/>
                  </a:lnTo>
                  <a:lnTo>
                    <a:pt x="130" y="84"/>
                  </a:lnTo>
                  <a:lnTo>
                    <a:pt x="116" y="62"/>
                  </a:lnTo>
                  <a:lnTo>
                    <a:pt x="100" y="44"/>
                  </a:lnTo>
                  <a:lnTo>
                    <a:pt x="82" y="26"/>
                  </a:lnTo>
                  <a:lnTo>
                    <a:pt x="62" y="12"/>
                  </a:lnTo>
                  <a:lnTo>
                    <a:pt x="62" y="12"/>
                  </a:lnTo>
                  <a:lnTo>
                    <a:pt x="56" y="8"/>
                  </a:lnTo>
                  <a:lnTo>
                    <a:pt x="48" y="4"/>
                  </a:lnTo>
                  <a:lnTo>
                    <a:pt x="38" y="2"/>
                  </a:lnTo>
                  <a:lnTo>
                    <a:pt x="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32"/>
            <p:cNvSpPr>
              <a:spLocks/>
            </p:cNvSpPr>
            <p:nvPr/>
          </p:nvSpPr>
          <p:spPr bwMode="auto">
            <a:xfrm>
              <a:off x="12999316" y="3627721"/>
              <a:ext cx="276225" cy="593725"/>
            </a:xfrm>
            <a:custGeom>
              <a:avLst/>
              <a:gdLst>
                <a:gd name="T0" fmla="*/ 128 w 174"/>
                <a:gd name="T1" fmla="*/ 0 h 374"/>
                <a:gd name="T2" fmla="*/ 128 w 174"/>
                <a:gd name="T3" fmla="*/ 0 h 374"/>
                <a:gd name="T4" fmla="*/ 110 w 174"/>
                <a:gd name="T5" fmla="*/ 2 h 374"/>
                <a:gd name="T6" fmla="*/ 94 w 174"/>
                <a:gd name="T7" fmla="*/ 8 h 374"/>
                <a:gd name="T8" fmla="*/ 80 w 174"/>
                <a:gd name="T9" fmla="*/ 18 h 374"/>
                <a:gd name="T10" fmla="*/ 66 w 174"/>
                <a:gd name="T11" fmla="*/ 28 h 374"/>
                <a:gd name="T12" fmla="*/ 54 w 174"/>
                <a:gd name="T13" fmla="*/ 42 h 374"/>
                <a:gd name="T14" fmla="*/ 44 w 174"/>
                <a:gd name="T15" fmla="*/ 58 h 374"/>
                <a:gd name="T16" fmla="*/ 36 w 174"/>
                <a:gd name="T17" fmla="*/ 74 h 374"/>
                <a:gd name="T18" fmla="*/ 28 w 174"/>
                <a:gd name="T19" fmla="*/ 88 h 374"/>
                <a:gd name="T20" fmla="*/ 28 w 174"/>
                <a:gd name="T21" fmla="*/ 88 h 374"/>
                <a:gd name="T22" fmla="*/ 16 w 174"/>
                <a:gd name="T23" fmla="*/ 114 h 374"/>
                <a:gd name="T24" fmla="*/ 8 w 174"/>
                <a:gd name="T25" fmla="*/ 140 h 374"/>
                <a:gd name="T26" fmla="*/ 4 w 174"/>
                <a:gd name="T27" fmla="*/ 168 h 374"/>
                <a:gd name="T28" fmla="*/ 2 w 174"/>
                <a:gd name="T29" fmla="*/ 194 h 374"/>
                <a:gd name="T30" fmla="*/ 0 w 174"/>
                <a:gd name="T31" fmla="*/ 222 h 374"/>
                <a:gd name="T32" fmla="*/ 2 w 174"/>
                <a:gd name="T33" fmla="*/ 250 h 374"/>
                <a:gd name="T34" fmla="*/ 2 w 174"/>
                <a:gd name="T35" fmla="*/ 306 h 374"/>
                <a:gd name="T36" fmla="*/ 2 w 174"/>
                <a:gd name="T37" fmla="*/ 306 h 374"/>
                <a:gd name="T38" fmla="*/ 0 w 174"/>
                <a:gd name="T39" fmla="*/ 320 h 374"/>
                <a:gd name="T40" fmla="*/ 0 w 174"/>
                <a:gd name="T41" fmla="*/ 334 h 374"/>
                <a:gd name="T42" fmla="*/ 4 w 174"/>
                <a:gd name="T43" fmla="*/ 344 h 374"/>
                <a:gd name="T44" fmla="*/ 10 w 174"/>
                <a:gd name="T45" fmla="*/ 356 h 374"/>
                <a:gd name="T46" fmla="*/ 18 w 174"/>
                <a:gd name="T47" fmla="*/ 364 h 374"/>
                <a:gd name="T48" fmla="*/ 30 w 174"/>
                <a:gd name="T49" fmla="*/ 370 h 374"/>
                <a:gd name="T50" fmla="*/ 40 w 174"/>
                <a:gd name="T51" fmla="*/ 374 h 374"/>
                <a:gd name="T52" fmla="*/ 52 w 174"/>
                <a:gd name="T53" fmla="*/ 374 h 374"/>
                <a:gd name="T54" fmla="*/ 52 w 174"/>
                <a:gd name="T55" fmla="*/ 374 h 374"/>
                <a:gd name="T56" fmla="*/ 66 w 174"/>
                <a:gd name="T57" fmla="*/ 374 h 374"/>
                <a:gd name="T58" fmla="*/ 78 w 174"/>
                <a:gd name="T59" fmla="*/ 368 h 374"/>
                <a:gd name="T60" fmla="*/ 88 w 174"/>
                <a:gd name="T61" fmla="*/ 358 h 374"/>
                <a:gd name="T62" fmla="*/ 98 w 174"/>
                <a:gd name="T63" fmla="*/ 344 h 374"/>
                <a:gd name="T64" fmla="*/ 98 w 174"/>
                <a:gd name="T65" fmla="*/ 344 h 374"/>
                <a:gd name="T66" fmla="*/ 104 w 174"/>
                <a:gd name="T67" fmla="*/ 336 h 374"/>
                <a:gd name="T68" fmla="*/ 110 w 174"/>
                <a:gd name="T69" fmla="*/ 328 h 374"/>
                <a:gd name="T70" fmla="*/ 114 w 174"/>
                <a:gd name="T71" fmla="*/ 320 h 374"/>
                <a:gd name="T72" fmla="*/ 116 w 174"/>
                <a:gd name="T73" fmla="*/ 312 h 374"/>
                <a:gd name="T74" fmla="*/ 118 w 174"/>
                <a:gd name="T75" fmla="*/ 294 h 374"/>
                <a:gd name="T76" fmla="*/ 116 w 174"/>
                <a:gd name="T77" fmla="*/ 278 h 374"/>
                <a:gd name="T78" fmla="*/ 110 w 174"/>
                <a:gd name="T79" fmla="*/ 260 h 374"/>
                <a:gd name="T80" fmla="*/ 104 w 174"/>
                <a:gd name="T81" fmla="*/ 242 h 374"/>
                <a:gd name="T82" fmla="*/ 96 w 174"/>
                <a:gd name="T83" fmla="*/ 224 h 374"/>
                <a:gd name="T84" fmla="*/ 90 w 174"/>
                <a:gd name="T85" fmla="*/ 206 h 374"/>
                <a:gd name="T86" fmla="*/ 90 w 174"/>
                <a:gd name="T87" fmla="*/ 206 h 374"/>
                <a:gd name="T88" fmla="*/ 104 w 174"/>
                <a:gd name="T89" fmla="*/ 156 h 374"/>
                <a:gd name="T90" fmla="*/ 110 w 174"/>
                <a:gd name="T91" fmla="*/ 130 h 374"/>
                <a:gd name="T92" fmla="*/ 120 w 174"/>
                <a:gd name="T93" fmla="*/ 106 h 374"/>
                <a:gd name="T94" fmla="*/ 130 w 174"/>
                <a:gd name="T95" fmla="*/ 82 h 374"/>
                <a:gd name="T96" fmla="*/ 142 w 174"/>
                <a:gd name="T97" fmla="*/ 60 h 374"/>
                <a:gd name="T98" fmla="*/ 156 w 174"/>
                <a:gd name="T99" fmla="*/ 38 h 374"/>
                <a:gd name="T100" fmla="*/ 174 w 174"/>
                <a:gd name="T101" fmla="*/ 18 h 374"/>
                <a:gd name="T102" fmla="*/ 174 w 174"/>
                <a:gd name="T103" fmla="*/ 18 h 374"/>
                <a:gd name="T104" fmla="*/ 156 w 174"/>
                <a:gd name="T105" fmla="*/ 8 h 374"/>
                <a:gd name="T106" fmla="*/ 146 w 174"/>
                <a:gd name="T107" fmla="*/ 2 h 374"/>
                <a:gd name="T108" fmla="*/ 136 w 174"/>
                <a:gd name="T109" fmla="*/ 0 h 374"/>
                <a:gd name="T110" fmla="*/ 136 w 174"/>
                <a:gd name="T111" fmla="*/ 0 h 374"/>
                <a:gd name="T112" fmla="*/ 128 w 174"/>
                <a:gd name="T11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374">
                  <a:moveTo>
                    <a:pt x="128" y="0"/>
                  </a:moveTo>
                  <a:lnTo>
                    <a:pt x="128" y="0"/>
                  </a:lnTo>
                  <a:lnTo>
                    <a:pt x="110" y="2"/>
                  </a:lnTo>
                  <a:lnTo>
                    <a:pt x="94" y="8"/>
                  </a:lnTo>
                  <a:lnTo>
                    <a:pt x="80" y="18"/>
                  </a:lnTo>
                  <a:lnTo>
                    <a:pt x="66" y="28"/>
                  </a:lnTo>
                  <a:lnTo>
                    <a:pt x="54" y="42"/>
                  </a:lnTo>
                  <a:lnTo>
                    <a:pt x="44" y="58"/>
                  </a:lnTo>
                  <a:lnTo>
                    <a:pt x="36" y="74"/>
                  </a:lnTo>
                  <a:lnTo>
                    <a:pt x="28" y="88"/>
                  </a:lnTo>
                  <a:lnTo>
                    <a:pt x="28" y="88"/>
                  </a:lnTo>
                  <a:lnTo>
                    <a:pt x="16" y="114"/>
                  </a:lnTo>
                  <a:lnTo>
                    <a:pt x="8" y="140"/>
                  </a:lnTo>
                  <a:lnTo>
                    <a:pt x="4" y="168"/>
                  </a:lnTo>
                  <a:lnTo>
                    <a:pt x="2" y="194"/>
                  </a:lnTo>
                  <a:lnTo>
                    <a:pt x="0" y="222"/>
                  </a:lnTo>
                  <a:lnTo>
                    <a:pt x="2" y="250"/>
                  </a:lnTo>
                  <a:lnTo>
                    <a:pt x="2" y="306"/>
                  </a:lnTo>
                  <a:lnTo>
                    <a:pt x="2" y="306"/>
                  </a:lnTo>
                  <a:lnTo>
                    <a:pt x="0" y="320"/>
                  </a:lnTo>
                  <a:lnTo>
                    <a:pt x="0" y="334"/>
                  </a:lnTo>
                  <a:lnTo>
                    <a:pt x="4" y="344"/>
                  </a:lnTo>
                  <a:lnTo>
                    <a:pt x="10" y="356"/>
                  </a:lnTo>
                  <a:lnTo>
                    <a:pt x="18" y="364"/>
                  </a:lnTo>
                  <a:lnTo>
                    <a:pt x="30" y="370"/>
                  </a:lnTo>
                  <a:lnTo>
                    <a:pt x="40" y="374"/>
                  </a:lnTo>
                  <a:lnTo>
                    <a:pt x="52" y="374"/>
                  </a:lnTo>
                  <a:lnTo>
                    <a:pt x="52" y="374"/>
                  </a:lnTo>
                  <a:lnTo>
                    <a:pt x="66" y="374"/>
                  </a:lnTo>
                  <a:lnTo>
                    <a:pt x="78" y="368"/>
                  </a:lnTo>
                  <a:lnTo>
                    <a:pt x="88" y="358"/>
                  </a:lnTo>
                  <a:lnTo>
                    <a:pt x="98" y="344"/>
                  </a:lnTo>
                  <a:lnTo>
                    <a:pt x="98" y="344"/>
                  </a:lnTo>
                  <a:lnTo>
                    <a:pt x="104" y="336"/>
                  </a:lnTo>
                  <a:lnTo>
                    <a:pt x="110" y="328"/>
                  </a:lnTo>
                  <a:lnTo>
                    <a:pt x="114" y="320"/>
                  </a:lnTo>
                  <a:lnTo>
                    <a:pt x="116" y="312"/>
                  </a:lnTo>
                  <a:lnTo>
                    <a:pt x="118" y="294"/>
                  </a:lnTo>
                  <a:lnTo>
                    <a:pt x="116" y="278"/>
                  </a:lnTo>
                  <a:lnTo>
                    <a:pt x="110" y="260"/>
                  </a:lnTo>
                  <a:lnTo>
                    <a:pt x="104" y="242"/>
                  </a:lnTo>
                  <a:lnTo>
                    <a:pt x="96" y="224"/>
                  </a:lnTo>
                  <a:lnTo>
                    <a:pt x="90" y="206"/>
                  </a:lnTo>
                  <a:lnTo>
                    <a:pt x="90" y="206"/>
                  </a:lnTo>
                  <a:lnTo>
                    <a:pt x="104" y="156"/>
                  </a:lnTo>
                  <a:lnTo>
                    <a:pt x="110" y="130"/>
                  </a:lnTo>
                  <a:lnTo>
                    <a:pt x="120" y="106"/>
                  </a:lnTo>
                  <a:lnTo>
                    <a:pt x="130" y="82"/>
                  </a:lnTo>
                  <a:lnTo>
                    <a:pt x="142" y="60"/>
                  </a:lnTo>
                  <a:lnTo>
                    <a:pt x="156" y="38"/>
                  </a:lnTo>
                  <a:lnTo>
                    <a:pt x="174" y="18"/>
                  </a:lnTo>
                  <a:lnTo>
                    <a:pt x="174" y="18"/>
                  </a:lnTo>
                  <a:lnTo>
                    <a:pt x="156" y="8"/>
                  </a:lnTo>
                  <a:lnTo>
                    <a:pt x="146" y="2"/>
                  </a:lnTo>
                  <a:lnTo>
                    <a:pt x="136" y="0"/>
                  </a:lnTo>
                  <a:lnTo>
                    <a:pt x="136" y="0"/>
                  </a:lnTo>
                  <a:lnTo>
                    <a:pt x="12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33"/>
            <p:cNvSpPr>
              <a:spLocks/>
            </p:cNvSpPr>
            <p:nvPr/>
          </p:nvSpPr>
          <p:spPr bwMode="auto">
            <a:xfrm>
              <a:off x="13370791" y="3395946"/>
              <a:ext cx="758825" cy="809625"/>
            </a:xfrm>
            <a:custGeom>
              <a:avLst/>
              <a:gdLst>
                <a:gd name="T0" fmla="*/ 226 w 478"/>
                <a:gd name="T1" fmla="*/ 0 h 510"/>
                <a:gd name="T2" fmla="*/ 172 w 478"/>
                <a:gd name="T3" fmla="*/ 6 h 510"/>
                <a:gd name="T4" fmla="*/ 122 w 478"/>
                <a:gd name="T5" fmla="*/ 14 h 510"/>
                <a:gd name="T6" fmla="*/ 72 w 478"/>
                <a:gd name="T7" fmla="*/ 28 h 510"/>
                <a:gd name="T8" fmla="*/ 46 w 478"/>
                <a:gd name="T9" fmla="*/ 46 h 510"/>
                <a:gd name="T10" fmla="*/ 28 w 478"/>
                <a:gd name="T11" fmla="*/ 74 h 510"/>
                <a:gd name="T12" fmla="*/ 8 w 478"/>
                <a:gd name="T13" fmla="*/ 108 h 510"/>
                <a:gd name="T14" fmla="*/ 0 w 478"/>
                <a:gd name="T15" fmla="*/ 130 h 510"/>
                <a:gd name="T16" fmla="*/ 6 w 478"/>
                <a:gd name="T17" fmla="*/ 146 h 510"/>
                <a:gd name="T18" fmla="*/ 20 w 478"/>
                <a:gd name="T19" fmla="*/ 156 h 510"/>
                <a:gd name="T20" fmla="*/ 58 w 478"/>
                <a:gd name="T21" fmla="*/ 170 h 510"/>
                <a:gd name="T22" fmla="*/ 84 w 478"/>
                <a:gd name="T23" fmla="*/ 184 h 510"/>
                <a:gd name="T24" fmla="*/ 96 w 478"/>
                <a:gd name="T25" fmla="*/ 198 h 510"/>
                <a:gd name="T26" fmla="*/ 96 w 478"/>
                <a:gd name="T27" fmla="*/ 208 h 510"/>
                <a:gd name="T28" fmla="*/ 98 w 478"/>
                <a:gd name="T29" fmla="*/ 232 h 510"/>
                <a:gd name="T30" fmla="*/ 96 w 478"/>
                <a:gd name="T31" fmla="*/ 248 h 510"/>
                <a:gd name="T32" fmla="*/ 78 w 478"/>
                <a:gd name="T33" fmla="*/ 274 h 510"/>
                <a:gd name="T34" fmla="*/ 58 w 478"/>
                <a:gd name="T35" fmla="*/ 298 h 510"/>
                <a:gd name="T36" fmla="*/ 52 w 478"/>
                <a:gd name="T37" fmla="*/ 312 h 510"/>
                <a:gd name="T38" fmla="*/ 52 w 478"/>
                <a:gd name="T39" fmla="*/ 332 h 510"/>
                <a:gd name="T40" fmla="*/ 56 w 478"/>
                <a:gd name="T41" fmla="*/ 366 h 510"/>
                <a:gd name="T42" fmla="*/ 64 w 478"/>
                <a:gd name="T43" fmla="*/ 394 h 510"/>
                <a:gd name="T44" fmla="*/ 74 w 478"/>
                <a:gd name="T45" fmla="*/ 412 h 510"/>
                <a:gd name="T46" fmla="*/ 88 w 478"/>
                <a:gd name="T47" fmla="*/ 430 h 510"/>
                <a:gd name="T48" fmla="*/ 146 w 478"/>
                <a:gd name="T49" fmla="*/ 480 h 510"/>
                <a:gd name="T50" fmla="*/ 178 w 478"/>
                <a:gd name="T51" fmla="*/ 502 h 510"/>
                <a:gd name="T52" fmla="*/ 214 w 478"/>
                <a:gd name="T53" fmla="*/ 510 h 510"/>
                <a:gd name="T54" fmla="*/ 224 w 478"/>
                <a:gd name="T55" fmla="*/ 510 h 510"/>
                <a:gd name="T56" fmla="*/ 234 w 478"/>
                <a:gd name="T57" fmla="*/ 508 h 510"/>
                <a:gd name="T58" fmla="*/ 248 w 478"/>
                <a:gd name="T59" fmla="*/ 490 h 510"/>
                <a:gd name="T60" fmla="*/ 248 w 478"/>
                <a:gd name="T61" fmla="*/ 478 h 510"/>
                <a:gd name="T62" fmla="*/ 238 w 478"/>
                <a:gd name="T63" fmla="*/ 472 h 510"/>
                <a:gd name="T64" fmla="*/ 200 w 478"/>
                <a:gd name="T65" fmla="*/ 464 h 510"/>
                <a:gd name="T66" fmla="*/ 172 w 478"/>
                <a:gd name="T67" fmla="*/ 456 h 510"/>
                <a:gd name="T68" fmla="*/ 158 w 478"/>
                <a:gd name="T69" fmla="*/ 446 h 510"/>
                <a:gd name="T70" fmla="*/ 156 w 478"/>
                <a:gd name="T71" fmla="*/ 438 h 510"/>
                <a:gd name="T72" fmla="*/ 162 w 478"/>
                <a:gd name="T73" fmla="*/ 378 h 510"/>
                <a:gd name="T74" fmla="*/ 172 w 478"/>
                <a:gd name="T75" fmla="*/ 338 h 510"/>
                <a:gd name="T76" fmla="*/ 192 w 478"/>
                <a:gd name="T77" fmla="*/ 304 h 510"/>
                <a:gd name="T78" fmla="*/ 208 w 478"/>
                <a:gd name="T79" fmla="*/ 292 h 510"/>
                <a:gd name="T80" fmla="*/ 218 w 478"/>
                <a:gd name="T81" fmla="*/ 286 h 510"/>
                <a:gd name="T82" fmla="*/ 234 w 478"/>
                <a:gd name="T83" fmla="*/ 274 h 510"/>
                <a:gd name="T84" fmla="*/ 248 w 478"/>
                <a:gd name="T85" fmla="*/ 246 h 510"/>
                <a:gd name="T86" fmla="*/ 260 w 478"/>
                <a:gd name="T87" fmla="*/ 202 h 510"/>
                <a:gd name="T88" fmla="*/ 272 w 478"/>
                <a:gd name="T89" fmla="*/ 170 h 510"/>
                <a:gd name="T90" fmla="*/ 284 w 478"/>
                <a:gd name="T91" fmla="*/ 150 h 510"/>
                <a:gd name="T92" fmla="*/ 292 w 478"/>
                <a:gd name="T93" fmla="*/ 142 h 510"/>
                <a:gd name="T94" fmla="*/ 310 w 478"/>
                <a:gd name="T95" fmla="*/ 134 h 510"/>
                <a:gd name="T96" fmla="*/ 338 w 478"/>
                <a:gd name="T97" fmla="*/ 130 h 510"/>
                <a:gd name="T98" fmla="*/ 364 w 478"/>
                <a:gd name="T99" fmla="*/ 132 h 510"/>
                <a:gd name="T100" fmla="*/ 394 w 478"/>
                <a:gd name="T101" fmla="*/ 134 h 510"/>
                <a:gd name="T102" fmla="*/ 446 w 478"/>
                <a:gd name="T103" fmla="*/ 138 h 510"/>
                <a:gd name="T104" fmla="*/ 458 w 478"/>
                <a:gd name="T105" fmla="*/ 136 h 510"/>
                <a:gd name="T106" fmla="*/ 476 w 478"/>
                <a:gd name="T107" fmla="*/ 132 h 510"/>
                <a:gd name="T108" fmla="*/ 476 w 478"/>
                <a:gd name="T109" fmla="*/ 120 h 510"/>
                <a:gd name="T110" fmla="*/ 456 w 478"/>
                <a:gd name="T111" fmla="*/ 98 h 510"/>
                <a:gd name="T112" fmla="*/ 438 w 478"/>
                <a:gd name="T113" fmla="*/ 82 h 510"/>
                <a:gd name="T114" fmla="*/ 376 w 478"/>
                <a:gd name="T115" fmla="*/ 42 h 510"/>
                <a:gd name="T116" fmla="*/ 320 w 478"/>
                <a:gd name="T117" fmla="*/ 18 h 510"/>
                <a:gd name="T118" fmla="*/ 272 w 478"/>
                <a:gd name="T119" fmla="*/ 4 h 510"/>
                <a:gd name="T120" fmla="*/ 226 w 478"/>
                <a:gd name="T1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8" h="510">
                  <a:moveTo>
                    <a:pt x="226" y="0"/>
                  </a:moveTo>
                  <a:lnTo>
                    <a:pt x="226" y="0"/>
                  </a:lnTo>
                  <a:lnTo>
                    <a:pt x="198" y="2"/>
                  </a:lnTo>
                  <a:lnTo>
                    <a:pt x="172" y="6"/>
                  </a:lnTo>
                  <a:lnTo>
                    <a:pt x="122" y="14"/>
                  </a:lnTo>
                  <a:lnTo>
                    <a:pt x="122" y="14"/>
                  </a:lnTo>
                  <a:lnTo>
                    <a:pt x="94" y="20"/>
                  </a:lnTo>
                  <a:lnTo>
                    <a:pt x="72" y="28"/>
                  </a:lnTo>
                  <a:lnTo>
                    <a:pt x="56" y="36"/>
                  </a:lnTo>
                  <a:lnTo>
                    <a:pt x="46" y="46"/>
                  </a:lnTo>
                  <a:lnTo>
                    <a:pt x="36" y="60"/>
                  </a:lnTo>
                  <a:lnTo>
                    <a:pt x="28" y="74"/>
                  </a:lnTo>
                  <a:lnTo>
                    <a:pt x="8" y="108"/>
                  </a:lnTo>
                  <a:lnTo>
                    <a:pt x="8" y="108"/>
                  </a:lnTo>
                  <a:lnTo>
                    <a:pt x="2" y="120"/>
                  </a:lnTo>
                  <a:lnTo>
                    <a:pt x="0" y="130"/>
                  </a:lnTo>
                  <a:lnTo>
                    <a:pt x="2" y="138"/>
                  </a:lnTo>
                  <a:lnTo>
                    <a:pt x="6" y="146"/>
                  </a:lnTo>
                  <a:lnTo>
                    <a:pt x="12" y="150"/>
                  </a:lnTo>
                  <a:lnTo>
                    <a:pt x="20" y="156"/>
                  </a:lnTo>
                  <a:lnTo>
                    <a:pt x="38" y="162"/>
                  </a:lnTo>
                  <a:lnTo>
                    <a:pt x="58" y="170"/>
                  </a:lnTo>
                  <a:lnTo>
                    <a:pt x="76" y="178"/>
                  </a:lnTo>
                  <a:lnTo>
                    <a:pt x="84" y="184"/>
                  </a:lnTo>
                  <a:lnTo>
                    <a:pt x="90" y="190"/>
                  </a:lnTo>
                  <a:lnTo>
                    <a:pt x="96" y="198"/>
                  </a:lnTo>
                  <a:lnTo>
                    <a:pt x="96" y="208"/>
                  </a:lnTo>
                  <a:lnTo>
                    <a:pt x="96" y="208"/>
                  </a:lnTo>
                  <a:lnTo>
                    <a:pt x="98" y="220"/>
                  </a:lnTo>
                  <a:lnTo>
                    <a:pt x="98" y="232"/>
                  </a:lnTo>
                  <a:lnTo>
                    <a:pt x="98" y="240"/>
                  </a:lnTo>
                  <a:lnTo>
                    <a:pt x="96" y="248"/>
                  </a:lnTo>
                  <a:lnTo>
                    <a:pt x="88" y="262"/>
                  </a:lnTo>
                  <a:lnTo>
                    <a:pt x="78" y="274"/>
                  </a:lnTo>
                  <a:lnTo>
                    <a:pt x="68" y="286"/>
                  </a:lnTo>
                  <a:lnTo>
                    <a:pt x="58" y="298"/>
                  </a:lnTo>
                  <a:lnTo>
                    <a:pt x="56" y="304"/>
                  </a:lnTo>
                  <a:lnTo>
                    <a:pt x="52" y="312"/>
                  </a:lnTo>
                  <a:lnTo>
                    <a:pt x="52" y="322"/>
                  </a:lnTo>
                  <a:lnTo>
                    <a:pt x="52" y="332"/>
                  </a:lnTo>
                  <a:lnTo>
                    <a:pt x="52" y="332"/>
                  </a:lnTo>
                  <a:lnTo>
                    <a:pt x="56" y="366"/>
                  </a:lnTo>
                  <a:lnTo>
                    <a:pt x="58" y="382"/>
                  </a:lnTo>
                  <a:lnTo>
                    <a:pt x="64" y="394"/>
                  </a:lnTo>
                  <a:lnTo>
                    <a:pt x="68" y="404"/>
                  </a:lnTo>
                  <a:lnTo>
                    <a:pt x="74" y="412"/>
                  </a:lnTo>
                  <a:lnTo>
                    <a:pt x="88" y="430"/>
                  </a:lnTo>
                  <a:lnTo>
                    <a:pt x="88" y="430"/>
                  </a:lnTo>
                  <a:lnTo>
                    <a:pt x="118" y="454"/>
                  </a:lnTo>
                  <a:lnTo>
                    <a:pt x="146" y="480"/>
                  </a:lnTo>
                  <a:lnTo>
                    <a:pt x="162" y="492"/>
                  </a:lnTo>
                  <a:lnTo>
                    <a:pt x="178" y="502"/>
                  </a:lnTo>
                  <a:lnTo>
                    <a:pt x="196" y="508"/>
                  </a:lnTo>
                  <a:lnTo>
                    <a:pt x="214" y="510"/>
                  </a:lnTo>
                  <a:lnTo>
                    <a:pt x="214" y="510"/>
                  </a:lnTo>
                  <a:lnTo>
                    <a:pt x="224" y="510"/>
                  </a:lnTo>
                  <a:lnTo>
                    <a:pt x="234" y="508"/>
                  </a:lnTo>
                  <a:lnTo>
                    <a:pt x="234" y="508"/>
                  </a:lnTo>
                  <a:lnTo>
                    <a:pt x="242" y="498"/>
                  </a:lnTo>
                  <a:lnTo>
                    <a:pt x="248" y="490"/>
                  </a:lnTo>
                  <a:lnTo>
                    <a:pt x="250" y="484"/>
                  </a:lnTo>
                  <a:lnTo>
                    <a:pt x="248" y="478"/>
                  </a:lnTo>
                  <a:lnTo>
                    <a:pt x="244" y="474"/>
                  </a:lnTo>
                  <a:lnTo>
                    <a:pt x="238" y="472"/>
                  </a:lnTo>
                  <a:lnTo>
                    <a:pt x="220" y="468"/>
                  </a:lnTo>
                  <a:lnTo>
                    <a:pt x="200" y="464"/>
                  </a:lnTo>
                  <a:lnTo>
                    <a:pt x="180" y="460"/>
                  </a:lnTo>
                  <a:lnTo>
                    <a:pt x="172" y="456"/>
                  </a:lnTo>
                  <a:lnTo>
                    <a:pt x="164" y="452"/>
                  </a:lnTo>
                  <a:lnTo>
                    <a:pt x="158" y="446"/>
                  </a:lnTo>
                  <a:lnTo>
                    <a:pt x="156" y="438"/>
                  </a:lnTo>
                  <a:lnTo>
                    <a:pt x="156" y="438"/>
                  </a:lnTo>
                  <a:lnTo>
                    <a:pt x="160" y="398"/>
                  </a:lnTo>
                  <a:lnTo>
                    <a:pt x="162" y="378"/>
                  </a:lnTo>
                  <a:lnTo>
                    <a:pt x="166" y="358"/>
                  </a:lnTo>
                  <a:lnTo>
                    <a:pt x="172" y="338"/>
                  </a:lnTo>
                  <a:lnTo>
                    <a:pt x="180" y="320"/>
                  </a:lnTo>
                  <a:lnTo>
                    <a:pt x="192" y="304"/>
                  </a:lnTo>
                  <a:lnTo>
                    <a:pt x="200" y="298"/>
                  </a:lnTo>
                  <a:lnTo>
                    <a:pt x="208" y="292"/>
                  </a:lnTo>
                  <a:lnTo>
                    <a:pt x="208" y="292"/>
                  </a:lnTo>
                  <a:lnTo>
                    <a:pt x="218" y="286"/>
                  </a:lnTo>
                  <a:lnTo>
                    <a:pt x="226" y="282"/>
                  </a:lnTo>
                  <a:lnTo>
                    <a:pt x="234" y="274"/>
                  </a:lnTo>
                  <a:lnTo>
                    <a:pt x="238" y="266"/>
                  </a:lnTo>
                  <a:lnTo>
                    <a:pt x="248" y="246"/>
                  </a:lnTo>
                  <a:lnTo>
                    <a:pt x="254" y="224"/>
                  </a:lnTo>
                  <a:lnTo>
                    <a:pt x="260" y="202"/>
                  </a:lnTo>
                  <a:lnTo>
                    <a:pt x="266" y="180"/>
                  </a:lnTo>
                  <a:lnTo>
                    <a:pt x="272" y="170"/>
                  </a:lnTo>
                  <a:lnTo>
                    <a:pt x="276" y="160"/>
                  </a:lnTo>
                  <a:lnTo>
                    <a:pt x="284" y="150"/>
                  </a:lnTo>
                  <a:lnTo>
                    <a:pt x="292" y="142"/>
                  </a:lnTo>
                  <a:lnTo>
                    <a:pt x="292" y="142"/>
                  </a:lnTo>
                  <a:lnTo>
                    <a:pt x="298" y="136"/>
                  </a:lnTo>
                  <a:lnTo>
                    <a:pt x="310" y="134"/>
                  </a:lnTo>
                  <a:lnTo>
                    <a:pt x="322" y="132"/>
                  </a:lnTo>
                  <a:lnTo>
                    <a:pt x="338" y="130"/>
                  </a:lnTo>
                  <a:lnTo>
                    <a:pt x="338" y="130"/>
                  </a:lnTo>
                  <a:lnTo>
                    <a:pt x="364" y="132"/>
                  </a:lnTo>
                  <a:lnTo>
                    <a:pt x="394" y="134"/>
                  </a:lnTo>
                  <a:lnTo>
                    <a:pt x="394" y="134"/>
                  </a:lnTo>
                  <a:lnTo>
                    <a:pt x="422" y="136"/>
                  </a:lnTo>
                  <a:lnTo>
                    <a:pt x="446" y="138"/>
                  </a:lnTo>
                  <a:lnTo>
                    <a:pt x="446" y="138"/>
                  </a:lnTo>
                  <a:lnTo>
                    <a:pt x="458" y="136"/>
                  </a:lnTo>
                  <a:lnTo>
                    <a:pt x="468" y="134"/>
                  </a:lnTo>
                  <a:lnTo>
                    <a:pt x="476" y="132"/>
                  </a:lnTo>
                  <a:lnTo>
                    <a:pt x="478" y="126"/>
                  </a:lnTo>
                  <a:lnTo>
                    <a:pt x="476" y="120"/>
                  </a:lnTo>
                  <a:lnTo>
                    <a:pt x="468" y="110"/>
                  </a:lnTo>
                  <a:lnTo>
                    <a:pt x="456" y="98"/>
                  </a:lnTo>
                  <a:lnTo>
                    <a:pt x="438" y="82"/>
                  </a:lnTo>
                  <a:lnTo>
                    <a:pt x="438" y="82"/>
                  </a:lnTo>
                  <a:lnTo>
                    <a:pt x="406" y="60"/>
                  </a:lnTo>
                  <a:lnTo>
                    <a:pt x="376" y="42"/>
                  </a:lnTo>
                  <a:lnTo>
                    <a:pt x="348" y="28"/>
                  </a:lnTo>
                  <a:lnTo>
                    <a:pt x="320" y="18"/>
                  </a:lnTo>
                  <a:lnTo>
                    <a:pt x="296" y="10"/>
                  </a:lnTo>
                  <a:lnTo>
                    <a:pt x="272" y="4"/>
                  </a:lnTo>
                  <a:lnTo>
                    <a:pt x="248" y="2"/>
                  </a:lnTo>
                  <a:lnTo>
                    <a:pt x="22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5" name="Rectangle 394"/>
          <p:cNvSpPr/>
          <p:nvPr/>
        </p:nvSpPr>
        <p:spPr bwMode="auto">
          <a:xfrm>
            <a:off x="191564" y="1874266"/>
            <a:ext cx="6907766"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396" name="Group 395"/>
          <p:cNvGrpSpPr/>
          <p:nvPr/>
        </p:nvGrpSpPr>
        <p:grpSpPr>
          <a:xfrm>
            <a:off x="222562" y="1976142"/>
            <a:ext cx="6853307" cy="2058904"/>
            <a:chOff x="2096035" y="1976142"/>
            <a:chExt cx="7656758" cy="2058904"/>
          </a:xfrm>
        </p:grpSpPr>
        <p:grpSp>
          <p:nvGrpSpPr>
            <p:cNvPr id="397" name="Group 396"/>
            <p:cNvGrpSpPr/>
            <p:nvPr/>
          </p:nvGrpSpPr>
          <p:grpSpPr>
            <a:xfrm>
              <a:off x="3067555" y="1976142"/>
              <a:ext cx="6685238" cy="1688475"/>
              <a:chOff x="1659120" y="1103085"/>
              <a:chExt cx="7199767" cy="1688475"/>
            </a:xfrm>
          </p:grpSpPr>
          <p:sp>
            <p:nvSpPr>
              <p:cNvPr id="400" name="Rectangle 399"/>
              <p:cNvSpPr/>
              <p:nvPr/>
            </p:nvSpPr>
            <p:spPr bwMode="auto">
              <a:xfrm>
                <a:off x="1659120" y="1103085"/>
                <a:ext cx="6142003" cy="123291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01" name="Rectangle 590"/>
              <p:cNvSpPr/>
              <p:nvPr/>
            </p:nvSpPr>
            <p:spPr bwMode="auto">
              <a:xfrm>
                <a:off x="7827122" y="1103086"/>
                <a:ext cx="1031765" cy="168847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0" y="1232911"/>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399" name="Rectangle 590"/>
            <p:cNvSpPr/>
            <p:nvPr/>
          </p:nvSpPr>
          <p:spPr bwMode="auto">
            <a:xfrm flipH="1">
              <a:off x="2096035" y="1976142"/>
              <a:ext cx="942333" cy="205890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11474 w 975455"/>
                <a:gd name="connsiteY3" fmla="*/ 1087479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11474" y="1087479"/>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cxnSp>
        <p:nvCxnSpPr>
          <p:cNvPr id="402" name="Elbow Connector 401"/>
          <p:cNvCxnSpPr>
            <a:stCxn id="502" idx="1"/>
            <a:endCxn id="634" idx="1"/>
          </p:cNvCxnSpPr>
          <p:nvPr/>
        </p:nvCxnSpPr>
        <p:spPr>
          <a:xfrm rot="10800000">
            <a:off x="2833729" y="2288784"/>
            <a:ext cx="291387" cy="594116"/>
          </a:xfrm>
          <a:prstGeom prst="bentConnector3">
            <a:avLst>
              <a:gd name="adj1" fmla="val 50000"/>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7" name="Group 416"/>
          <p:cNvGrpSpPr/>
          <p:nvPr/>
        </p:nvGrpSpPr>
        <p:grpSpPr>
          <a:xfrm>
            <a:off x="7620706" y="3224093"/>
            <a:ext cx="663050" cy="1083312"/>
            <a:chOff x="9350678" y="2935671"/>
            <a:chExt cx="802290" cy="1310807"/>
          </a:xfrm>
        </p:grpSpPr>
        <p:sp>
          <p:nvSpPr>
            <p:cNvPr id="422" name="Rectangle 421"/>
            <p:cNvSpPr/>
            <p:nvPr/>
          </p:nvSpPr>
          <p:spPr bwMode="auto">
            <a:xfrm>
              <a:off x="9358876" y="3527663"/>
              <a:ext cx="794092" cy="643345"/>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4" name="Oval 423"/>
            <p:cNvSpPr/>
            <p:nvPr/>
          </p:nvSpPr>
          <p:spPr bwMode="auto">
            <a:xfrm>
              <a:off x="9365786" y="3445990"/>
              <a:ext cx="785459" cy="181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6" name="Rounded Rectangle 425"/>
            <p:cNvSpPr/>
            <p:nvPr/>
          </p:nvSpPr>
          <p:spPr bwMode="auto">
            <a:xfrm>
              <a:off x="9713918" y="3079881"/>
              <a:ext cx="79493" cy="467307"/>
            </a:xfrm>
            <a:prstGeom prst="roundRect">
              <a:avLst>
                <a:gd name="adj" fmla="val 31237"/>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8" name="Oval 766"/>
            <p:cNvSpPr/>
            <p:nvPr/>
          </p:nvSpPr>
          <p:spPr bwMode="auto">
            <a:xfrm>
              <a:off x="9355904" y="3026528"/>
              <a:ext cx="786599" cy="1219950"/>
            </a:xfrm>
            <a:custGeom>
              <a:avLst/>
              <a:gdLst/>
              <a:ahLst/>
              <a:cxnLst/>
              <a:rect l="l" t="t" r="r" b="b"/>
              <a:pathLst>
                <a:path w="908384" h="1395535">
                  <a:moveTo>
                    <a:pt x="0" y="0"/>
                  </a:moveTo>
                  <a:lnTo>
                    <a:pt x="908384" y="0"/>
                  </a:lnTo>
                  <a:lnTo>
                    <a:pt x="908384" y="1296173"/>
                  </a:lnTo>
                  <a:lnTo>
                    <a:pt x="901456" y="1296173"/>
                  </a:lnTo>
                  <a:cubicBezTo>
                    <a:pt x="891964" y="1351613"/>
                    <a:pt x="695250" y="1395535"/>
                    <a:pt x="454193" y="1395535"/>
                  </a:cubicBezTo>
                  <a:cubicBezTo>
                    <a:pt x="213136" y="1395535"/>
                    <a:pt x="16422" y="1351613"/>
                    <a:pt x="6930" y="1296173"/>
                  </a:cubicBezTo>
                  <a:lnTo>
                    <a:pt x="0" y="1296173"/>
                  </a:lnTo>
                  <a:close/>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9" name="Rectangle 428"/>
            <p:cNvSpPr/>
            <p:nvPr/>
          </p:nvSpPr>
          <p:spPr bwMode="auto">
            <a:xfrm>
              <a:off x="9713796" y="3636322"/>
              <a:ext cx="84639" cy="239805"/>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0" name="Oval 429"/>
            <p:cNvSpPr/>
            <p:nvPr/>
          </p:nvSpPr>
          <p:spPr bwMode="auto">
            <a:xfrm>
              <a:off x="9371157" y="4056260"/>
              <a:ext cx="758503" cy="181713"/>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1" name="Oval 430"/>
            <p:cNvSpPr/>
            <p:nvPr/>
          </p:nvSpPr>
          <p:spPr bwMode="auto">
            <a:xfrm>
              <a:off x="9350678" y="2935671"/>
              <a:ext cx="795544" cy="181713"/>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432" name="Rectangle 431"/>
          <p:cNvSpPr/>
          <p:nvPr/>
        </p:nvSpPr>
        <p:spPr bwMode="auto">
          <a:xfrm>
            <a:off x="6478388" y="2927992"/>
            <a:ext cx="294262" cy="514072"/>
          </a:xfrm>
          <a:prstGeom prst="rect">
            <a:avLst/>
          </a:prstGeom>
          <a:solidFill>
            <a:srgbClr val="1B3B41"/>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3" name="Flowchart: Data 687"/>
          <p:cNvSpPr/>
          <p:nvPr/>
        </p:nvSpPr>
        <p:spPr bwMode="auto">
          <a:xfrm flipH="1">
            <a:off x="3102459" y="3992322"/>
            <a:ext cx="1051834" cy="17816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1725"/>
              <a:gd name="connsiteX1" fmla="*/ 2000 w 10000"/>
              <a:gd name="connsiteY1" fmla="*/ 0 h 11725"/>
              <a:gd name="connsiteX2" fmla="*/ 10000 w 10000"/>
              <a:gd name="connsiteY2" fmla="*/ 0 h 11725"/>
              <a:gd name="connsiteX3" fmla="*/ 9771 w 10000"/>
              <a:gd name="connsiteY3" fmla="*/ 11725 h 11725"/>
              <a:gd name="connsiteX4" fmla="*/ 0 w 10000"/>
              <a:gd name="connsiteY4" fmla="*/ 10000 h 11725"/>
              <a:gd name="connsiteX0" fmla="*/ 0 w 10000"/>
              <a:gd name="connsiteY0" fmla="*/ 10000 h 10000"/>
              <a:gd name="connsiteX1" fmla="*/ 2000 w 10000"/>
              <a:gd name="connsiteY1" fmla="*/ 0 h 10000"/>
              <a:gd name="connsiteX2" fmla="*/ 10000 w 10000"/>
              <a:gd name="connsiteY2" fmla="*/ 0 h 10000"/>
              <a:gd name="connsiteX3" fmla="*/ 9860 w 10000"/>
              <a:gd name="connsiteY3" fmla="*/ 10000 h 10000"/>
              <a:gd name="connsiteX4" fmla="*/ 0 w 10000"/>
              <a:gd name="connsiteY4" fmla="*/ 10000 h 10000"/>
              <a:gd name="connsiteX0" fmla="*/ 0 w 10000"/>
              <a:gd name="connsiteY0" fmla="*/ 10000 h 10000"/>
              <a:gd name="connsiteX1" fmla="*/ 672 w 10000"/>
              <a:gd name="connsiteY1" fmla="*/ 0 h 10000"/>
              <a:gd name="connsiteX2" fmla="*/ 10000 w 10000"/>
              <a:gd name="connsiteY2" fmla="*/ 0 h 10000"/>
              <a:gd name="connsiteX3" fmla="*/ 986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672" y="0"/>
                </a:lnTo>
                <a:lnTo>
                  <a:pt x="10000" y="0"/>
                </a:lnTo>
                <a:cubicBezTo>
                  <a:pt x="9924" y="3908"/>
                  <a:pt x="9936" y="6092"/>
                  <a:pt x="9860" y="10000"/>
                </a:cubicBezTo>
                <a:lnTo>
                  <a:pt x="0" y="10000"/>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4" name="Rectangle 433"/>
          <p:cNvSpPr/>
          <p:nvPr/>
        </p:nvSpPr>
        <p:spPr bwMode="auto">
          <a:xfrm>
            <a:off x="1156299" y="3122699"/>
            <a:ext cx="75633" cy="759013"/>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435" name="Flowchart: Data 775"/>
          <p:cNvSpPr/>
          <p:nvPr/>
        </p:nvSpPr>
        <p:spPr bwMode="auto">
          <a:xfrm flipH="1">
            <a:off x="4186541" y="5646041"/>
            <a:ext cx="1953306" cy="62064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436" name="Group 435"/>
          <p:cNvGrpSpPr/>
          <p:nvPr/>
        </p:nvGrpSpPr>
        <p:grpSpPr>
          <a:xfrm>
            <a:off x="209887" y="2258507"/>
            <a:ext cx="432424" cy="558569"/>
            <a:chOff x="6178987" y="1083053"/>
            <a:chExt cx="2106470" cy="2151434"/>
          </a:xfrm>
          <a:solidFill>
            <a:schemeClr val="bg1">
              <a:alpha val="20000"/>
            </a:schemeClr>
          </a:solidFill>
          <a:scene3d>
            <a:camera prst="isometricOffAxis2Right"/>
            <a:lightRig rig="threePt" dir="t"/>
          </a:scene3d>
        </p:grpSpPr>
        <p:sp>
          <p:nvSpPr>
            <p:cNvPr id="437" name="Rectangle 436"/>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8" name="Rectangle 437"/>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9" name="Rectangle 438"/>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0" name="Rectangle 439"/>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441" name="Rectangle 440"/>
          <p:cNvSpPr/>
          <p:nvPr/>
        </p:nvSpPr>
        <p:spPr bwMode="auto">
          <a:xfrm>
            <a:off x="805959" y="3711689"/>
            <a:ext cx="3488460" cy="200180"/>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2" name="Rounded Rectangle 441"/>
          <p:cNvSpPr/>
          <p:nvPr/>
        </p:nvSpPr>
        <p:spPr bwMode="auto">
          <a:xfrm>
            <a:off x="728259" y="3654867"/>
            <a:ext cx="3566160" cy="86371"/>
          </a:xfrm>
          <a:prstGeom prst="roundRect">
            <a:avLst>
              <a:gd name="adj" fmla="val 50000"/>
            </a:avLst>
          </a:prstGeom>
          <a:solidFill>
            <a:srgbClr val="0048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3" name="Oval 5"/>
          <p:cNvSpPr/>
          <p:nvPr/>
        </p:nvSpPr>
        <p:spPr bwMode="auto">
          <a:xfrm>
            <a:off x="3102155" y="4443558"/>
            <a:ext cx="311817" cy="277692"/>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45" name="Oval 5"/>
          <p:cNvSpPr/>
          <p:nvPr/>
        </p:nvSpPr>
        <p:spPr bwMode="auto">
          <a:xfrm>
            <a:off x="5024269" y="3104623"/>
            <a:ext cx="193223" cy="17207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47" name="Rectangle 446"/>
          <p:cNvSpPr/>
          <p:nvPr/>
        </p:nvSpPr>
        <p:spPr>
          <a:xfrm>
            <a:off x="1190616" y="1491335"/>
            <a:ext cx="1798890" cy="261610"/>
          </a:xfrm>
          <a:prstGeom prst="rect">
            <a:avLst/>
          </a:prstGeom>
        </p:spPr>
        <p:txBody>
          <a:bodyPr wrap="none">
            <a:spAutoFit/>
          </a:bodyPr>
          <a:lstStyle/>
          <a:p>
            <a:r>
              <a:rPr lang="en-US" sz="1100" dirty="0">
                <a:solidFill>
                  <a:srgbClr val="FFFFFF"/>
                </a:solidFill>
              </a:rPr>
              <a:t>MANUFACTURING PLANT</a:t>
            </a:r>
          </a:p>
        </p:txBody>
      </p:sp>
      <p:sp>
        <p:nvSpPr>
          <p:cNvPr id="448" name="Trapezoid 447"/>
          <p:cNvSpPr/>
          <p:nvPr/>
        </p:nvSpPr>
        <p:spPr bwMode="auto">
          <a:xfrm>
            <a:off x="755938" y="3519863"/>
            <a:ext cx="3801559" cy="13128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9" name="Oval 5"/>
          <p:cNvSpPr/>
          <p:nvPr/>
        </p:nvSpPr>
        <p:spPr bwMode="auto">
          <a:xfrm>
            <a:off x="350260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50" name="Group 449"/>
          <p:cNvGrpSpPr/>
          <p:nvPr/>
        </p:nvGrpSpPr>
        <p:grpSpPr>
          <a:xfrm>
            <a:off x="742542" y="3661922"/>
            <a:ext cx="3443046" cy="67574"/>
            <a:chOff x="2542423" y="3659019"/>
            <a:chExt cx="3443046" cy="67574"/>
          </a:xfrm>
        </p:grpSpPr>
        <p:sp>
          <p:nvSpPr>
            <p:cNvPr id="451" name="Oval 450"/>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2" name="Oval 451"/>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3" name="Oval 452"/>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4" name="Oval 453"/>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6" name="Oval 455"/>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8" name="Oval 457"/>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9" name="Oval 458"/>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0" name="Oval 459"/>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1" name="Oval 460"/>
            <p:cNvSpPr/>
            <p:nvPr/>
          </p:nvSpPr>
          <p:spPr bwMode="auto">
            <a:xfrm>
              <a:off x="434488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2" name="Oval 461"/>
            <p:cNvSpPr/>
            <p:nvPr/>
          </p:nvSpPr>
          <p:spPr bwMode="auto">
            <a:xfrm>
              <a:off x="457019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3" name="Oval 462"/>
            <p:cNvSpPr/>
            <p:nvPr/>
          </p:nvSpPr>
          <p:spPr bwMode="auto">
            <a:xfrm>
              <a:off x="479550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4" name="Oval 463"/>
            <p:cNvSpPr/>
            <p:nvPr/>
          </p:nvSpPr>
          <p:spPr bwMode="auto">
            <a:xfrm>
              <a:off x="502081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5" name="Oval 464"/>
            <p:cNvSpPr/>
            <p:nvPr/>
          </p:nvSpPr>
          <p:spPr bwMode="auto">
            <a:xfrm>
              <a:off x="524611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6" name="Oval 465"/>
            <p:cNvSpPr/>
            <p:nvPr/>
          </p:nvSpPr>
          <p:spPr bwMode="auto">
            <a:xfrm>
              <a:off x="547142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0" name="Oval 469"/>
            <p:cNvSpPr/>
            <p:nvPr/>
          </p:nvSpPr>
          <p:spPr bwMode="auto">
            <a:xfrm>
              <a:off x="569673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1" name="Oval 470"/>
            <p:cNvSpPr/>
            <p:nvPr/>
          </p:nvSpPr>
          <p:spPr bwMode="auto">
            <a:xfrm>
              <a:off x="5922052"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2" name="Oval 471"/>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4" name="Oval 473"/>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6" name="Oval 475"/>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7" name="Oval 476"/>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8" name="Oval 477"/>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9" name="Oval 478"/>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80" name="Oval 479"/>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89" name="Oval 488"/>
            <p:cNvSpPr/>
            <p:nvPr/>
          </p:nvSpPr>
          <p:spPr bwMode="auto">
            <a:xfrm>
              <a:off x="423223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4" name="Oval 493"/>
            <p:cNvSpPr/>
            <p:nvPr/>
          </p:nvSpPr>
          <p:spPr bwMode="auto">
            <a:xfrm>
              <a:off x="445754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6" name="Oval 495"/>
            <p:cNvSpPr/>
            <p:nvPr/>
          </p:nvSpPr>
          <p:spPr bwMode="auto">
            <a:xfrm>
              <a:off x="468284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7" name="Oval 496"/>
            <p:cNvSpPr/>
            <p:nvPr/>
          </p:nvSpPr>
          <p:spPr bwMode="auto">
            <a:xfrm>
              <a:off x="490815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8" name="Oval 497"/>
            <p:cNvSpPr/>
            <p:nvPr/>
          </p:nvSpPr>
          <p:spPr bwMode="auto">
            <a:xfrm>
              <a:off x="513346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9" name="Oval 498"/>
            <p:cNvSpPr/>
            <p:nvPr/>
          </p:nvSpPr>
          <p:spPr bwMode="auto">
            <a:xfrm>
              <a:off x="535877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0" name="Oval 499"/>
            <p:cNvSpPr/>
            <p:nvPr/>
          </p:nvSpPr>
          <p:spPr bwMode="auto">
            <a:xfrm>
              <a:off x="558408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1" name="Oval 500"/>
            <p:cNvSpPr/>
            <p:nvPr/>
          </p:nvSpPr>
          <p:spPr bwMode="auto">
            <a:xfrm>
              <a:off x="580938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502" name="Rectangle 501"/>
          <p:cNvSpPr/>
          <p:nvPr/>
        </p:nvSpPr>
        <p:spPr bwMode="auto">
          <a:xfrm>
            <a:off x="3125115" y="2682076"/>
            <a:ext cx="349337" cy="401648"/>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03" name="Group 502"/>
          <p:cNvGrpSpPr/>
          <p:nvPr/>
        </p:nvGrpSpPr>
        <p:grpSpPr>
          <a:xfrm>
            <a:off x="3460343" y="3571943"/>
            <a:ext cx="272918" cy="516156"/>
            <a:chOff x="2431514" y="2279062"/>
            <a:chExt cx="531840" cy="1005842"/>
          </a:xfrm>
        </p:grpSpPr>
        <p:sp>
          <p:nvSpPr>
            <p:cNvPr id="504" name="Rectangle 503"/>
            <p:cNvSpPr/>
            <p:nvPr/>
          </p:nvSpPr>
          <p:spPr bwMode="auto">
            <a:xfrm>
              <a:off x="2514941" y="2335996"/>
              <a:ext cx="361323" cy="422149"/>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8" name="Rounded Rectangle 4"/>
            <p:cNvSpPr>
              <a:spLocks noChangeAspect="1"/>
            </p:cNvSpPr>
            <p:nvPr/>
          </p:nvSpPr>
          <p:spPr bwMode="auto">
            <a:xfrm>
              <a:off x="2431514" y="2279062"/>
              <a:ext cx="531840" cy="1005842"/>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78A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09" name="Group 508"/>
          <p:cNvGrpSpPr/>
          <p:nvPr/>
        </p:nvGrpSpPr>
        <p:grpSpPr>
          <a:xfrm>
            <a:off x="3554682" y="3640726"/>
            <a:ext cx="88262" cy="88240"/>
            <a:chOff x="10188397" y="2479330"/>
            <a:chExt cx="302040" cy="301962"/>
          </a:xfrm>
          <a:solidFill>
            <a:srgbClr val="8DC548"/>
          </a:solidFill>
        </p:grpSpPr>
        <p:sp>
          <p:nvSpPr>
            <p:cNvPr id="510"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sp>
          <p:nvSpPr>
            <p:cNvPr id="511"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sp>
          <p:nvSpPr>
            <p:cNvPr id="512" name="Rectangle 103"/>
            <p:cNvSpPr>
              <a:spLocks noChangeArrowheads="1"/>
            </p:cNvSpPr>
            <p:nvPr/>
          </p:nvSpPr>
          <p:spPr bwMode="black">
            <a:xfrm>
              <a:off x="10325759" y="2666521"/>
              <a:ext cx="37607" cy="36409"/>
            </a:xfrm>
            <a:prstGeom prst="rect">
              <a:avLst/>
            </a:pr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grpSp>
      <p:cxnSp>
        <p:nvCxnSpPr>
          <p:cNvPr id="514" name="Elbow Connector 513"/>
          <p:cNvCxnSpPr>
            <a:endCxn id="502" idx="3"/>
          </p:cNvCxnSpPr>
          <p:nvPr/>
        </p:nvCxnSpPr>
        <p:spPr>
          <a:xfrm rot="16200000" flipV="1">
            <a:off x="3192864" y="3164490"/>
            <a:ext cx="689043" cy="125865"/>
          </a:xfrm>
          <a:prstGeom prst="bentConnector2">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17" name="Group 516"/>
          <p:cNvGrpSpPr/>
          <p:nvPr/>
        </p:nvGrpSpPr>
        <p:grpSpPr>
          <a:xfrm>
            <a:off x="3161415" y="2733749"/>
            <a:ext cx="267478" cy="346658"/>
            <a:chOff x="3552856" y="1167295"/>
            <a:chExt cx="521240" cy="675539"/>
          </a:xfrm>
        </p:grpSpPr>
        <p:sp>
          <p:nvSpPr>
            <p:cNvPr id="518" name="Rectangle 517"/>
            <p:cNvSpPr/>
            <p:nvPr/>
          </p:nvSpPr>
          <p:spPr bwMode="auto">
            <a:xfrm>
              <a:off x="3682167" y="1256658"/>
              <a:ext cx="281359" cy="293535"/>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19" name="Group 518"/>
            <p:cNvGrpSpPr/>
            <p:nvPr/>
          </p:nvGrpSpPr>
          <p:grpSpPr>
            <a:xfrm>
              <a:off x="3552856" y="1167295"/>
              <a:ext cx="521240" cy="675539"/>
              <a:chOff x="3581886" y="1135362"/>
              <a:chExt cx="521240" cy="675539"/>
            </a:xfrm>
          </p:grpSpPr>
          <p:sp>
            <p:nvSpPr>
              <p:cNvPr id="524" name="Rectangle 59"/>
              <p:cNvSpPr/>
              <p:nvPr/>
            </p:nvSpPr>
            <p:spPr bwMode="auto">
              <a:xfrm>
                <a:off x="3581886" y="1135362"/>
                <a:ext cx="521240" cy="675539"/>
              </a:xfrm>
              <a:custGeom>
                <a:avLst/>
                <a:gdLst/>
                <a:ahLst/>
                <a:cxnLst/>
                <a:rect l="l" t="t" r="r" b="b"/>
                <a:pathLst>
                  <a:path w="1330900" h="1724876">
                    <a:moveTo>
                      <a:pt x="0" y="1370500"/>
                    </a:moveTo>
                    <a:lnTo>
                      <a:pt x="749813" y="1457869"/>
                    </a:lnTo>
                    <a:cubicBezTo>
                      <a:pt x="750362" y="1484968"/>
                      <a:pt x="751746" y="1531228"/>
                      <a:pt x="752295" y="1558327"/>
                    </a:cubicBezTo>
                    <a:lnTo>
                      <a:pt x="10134" y="1453480"/>
                    </a:lnTo>
                    <a:close/>
                    <a:moveTo>
                      <a:pt x="974149" y="1337212"/>
                    </a:moveTo>
                    <a:cubicBezTo>
                      <a:pt x="974302" y="1371103"/>
                      <a:pt x="974455" y="1404993"/>
                      <a:pt x="974608" y="1438884"/>
                    </a:cubicBezTo>
                    <a:lnTo>
                      <a:pt x="761535" y="1554426"/>
                    </a:lnTo>
                    <a:cubicBezTo>
                      <a:pt x="762084" y="1527327"/>
                      <a:pt x="759538" y="1484949"/>
                      <a:pt x="760087" y="1457849"/>
                    </a:cubicBezTo>
                    <a:close/>
                    <a:moveTo>
                      <a:pt x="232082" y="1272747"/>
                    </a:moveTo>
                    <a:lnTo>
                      <a:pt x="965544" y="1334571"/>
                    </a:lnTo>
                    <a:lnTo>
                      <a:pt x="755406" y="1451661"/>
                    </a:lnTo>
                    <a:lnTo>
                      <a:pt x="7410" y="1362490"/>
                    </a:lnTo>
                    <a:close/>
                    <a:moveTo>
                      <a:pt x="1051563" y="289402"/>
                    </a:moveTo>
                    <a:lnTo>
                      <a:pt x="438156" y="341569"/>
                    </a:lnTo>
                    <a:lnTo>
                      <a:pt x="354664" y="900264"/>
                    </a:lnTo>
                    <a:lnTo>
                      <a:pt x="968072" y="888484"/>
                    </a:lnTo>
                    <a:close/>
                    <a:moveTo>
                      <a:pt x="1249536" y="71477"/>
                    </a:moveTo>
                    <a:lnTo>
                      <a:pt x="1330900" y="134646"/>
                    </a:lnTo>
                    <a:lnTo>
                      <a:pt x="1161901" y="1724876"/>
                    </a:lnTo>
                    <a:lnTo>
                      <a:pt x="1025375" y="1724876"/>
                    </a:lnTo>
                    <a:cubicBezTo>
                      <a:pt x="1076551" y="1182290"/>
                      <a:pt x="1156816" y="636961"/>
                      <a:pt x="1249536" y="71477"/>
                    </a:cubicBezTo>
                    <a:close/>
                    <a:moveTo>
                      <a:pt x="1270517" y="0"/>
                    </a:moveTo>
                    <a:cubicBezTo>
                      <a:pt x="1237712" y="66785"/>
                      <a:pt x="1239219" y="63859"/>
                      <a:pt x="1236639" y="79612"/>
                    </a:cubicBezTo>
                    <a:cubicBezTo>
                      <a:pt x="1177780" y="376370"/>
                      <a:pt x="1074422" y="1035863"/>
                      <a:pt x="1006324" y="1724876"/>
                    </a:cubicBezTo>
                    <a:lnTo>
                      <a:pt x="129779" y="1724876"/>
                    </a:lnTo>
                    <a:cubicBezTo>
                      <a:pt x="134810" y="1642838"/>
                      <a:pt x="143489" y="1561634"/>
                      <a:pt x="152869" y="1480487"/>
                    </a:cubicBezTo>
                    <a:lnTo>
                      <a:pt x="759172" y="1563461"/>
                    </a:lnTo>
                    <a:lnTo>
                      <a:pt x="987167" y="1434545"/>
                    </a:lnTo>
                    <a:lnTo>
                      <a:pt x="990648" y="1326256"/>
                    </a:lnTo>
                    <a:lnTo>
                      <a:pt x="224862" y="1260939"/>
                    </a:lnTo>
                    <a:lnTo>
                      <a:pt x="176915" y="1281656"/>
                    </a:lnTo>
                    <a:cubicBezTo>
                      <a:pt x="220006" y="938614"/>
                      <a:pt x="274383" y="589238"/>
                      <a:pt x="332527" y="195284"/>
                    </a:cubicBezTo>
                    <a:cubicBezTo>
                      <a:pt x="346547" y="136030"/>
                      <a:pt x="348191" y="116502"/>
                      <a:pt x="427187" y="101557"/>
                    </a:cubicBez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5" name="Group 524"/>
              <p:cNvGrpSpPr/>
              <p:nvPr/>
            </p:nvGrpSpPr>
            <p:grpSpPr>
              <a:xfrm rot="338051">
                <a:off x="3758138" y="1306286"/>
                <a:ext cx="96803" cy="160371"/>
                <a:chOff x="3779688" y="1268549"/>
                <a:chExt cx="172086" cy="189399"/>
              </a:xfrm>
              <a:solidFill>
                <a:srgbClr val="8DC548"/>
              </a:solidFill>
              <a:scene3d>
                <a:camera prst="orthographicFront">
                  <a:rot lat="102490" lon="19204199" rev="281991"/>
                </a:camera>
                <a:lightRig rig="threePt" dir="t"/>
              </a:scene3d>
            </p:grpSpPr>
            <p:sp>
              <p:nvSpPr>
                <p:cNvPr id="531" name="Rectangle 530"/>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2" name="Rectangle 531"/>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3" name="Rectangle 532"/>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26" name="Group 525"/>
              <p:cNvGrpSpPr/>
              <p:nvPr/>
            </p:nvGrpSpPr>
            <p:grpSpPr>
              <a:xfrm rot="338051">
                <a:off x="3847954" y="1385485"/>
                <a:ext cx="96803" cy="80186"/>
                <a:chOff x="3779688" y="1268549"/>
                <a:chExt cx="172086" cy="189399"/>
              </a:xfrm>
              <a:solidFill>
                <a:srgbClr val="8DC548"/>
              </a:solidFill>
              <a:scene3d>
                <a:camera prst="orthographicFront">
                  <a:rot lat="102490" lon="19204199" rev="281991"/>
                </a:camera>
                <a:lightRig rig="threePt" dir="t"/>
              </a:scene3d>
            </p:grpSpPr>
            <p:sp>
              <p:nvSpPr>
                <p:cNvPr id="527" name="Rectangle 526"/>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28" name="Rectangle 527"/>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0" name="Rectangle 529"/>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sp>
        <p:nvSpPr>
          <p:cNvPr id="545" name="Rectangle 544"/>
          <p:cNvSpPr/>
          <p:nvPr/>
        </p:nvSpPr>
        <p:spPr bwMode="auto">
          <a:xfrm rot="5400000">
            <a:off x="5198972" y="5535575"/>
            <a:ext cx="335854" cy="78763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47" name="Parallelogram 24"/>
          <p:cNvSpPr/>
          <p:nvPr/>
        </p:nvSpPr>
        <p:spPr bwMode="auto">
          <a:xfrm flipH="1">
            <a:off x="4116815" y="3834164"/>
            <a:ext cx="1608768" cy="226315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202919"/>
              <a:gd name="connsiteY0" fmla="*/ 2094896 h 2103752"/>
              <a:gd name="connsiteX1" fmla="*/ 1701466 w 2202919"/>
              <a:gd name="connsiteY1" fmla="*/ 0 h 2103752"/>
              <a:gd name="connsiteX2" fmla="*/ 2202919 w 2202919"/>
              <a:gd name="connsiteY2" fmla="*/ 0 h 2103752"/>
              <a:gd name="connsiteX3" fmla="*/ 1073454 w 2202919"/>
              <a:gd name="connsiteY3" fmla="*/ 2103752 h 2103752"/>
              <a:gd name="connsiteX4" fmla="*/ 0 w 2202919"/>
              <a:gd name="connsiteY4" fmla="*/ 2094896 h 21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919" h="2103752">
                <a:moveTo>
                  <a:pt x="0" y="2094896"/>
                </a:moveTo>
                <a:lnTo>
                  <a:pt x="1701466" y="0"/>
                </a:lnTo>
                <a:lnTo>
                  <a:pt x="2202919" y="0"/>
                </a:lnTo>
                <a:lnTo>
                  <a:pt x="1073454" y="2103752"/>
                </a:lnTo>
                <a:lnTo>
                  <a:pt x="0" y="2094896"/>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48" name="Parallelogram 24"/>
          <p:cNvSpPr/>
          <p:nvPr/>
        </p:nvSpPr>
        <p:spPr bwMode="auto">
          <a:xfrm flipH="1">
            <a:off x="4181232" y="3520306"/>
            <a:ext cx="1583698" cy="224781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348094"/>
              <a:gd name="connsiteY0" fmla="*/ 2085822 h 2103752"/>
              <a:gd name="connsiteX1" fmla="*/ 1846641 w 2348094"/>
              <a:gd name="connsiteY1" fmla="*/ 0 h 2103752"/>
              <a:gd name="connsiteX2" fmla="*/ 2348094 w 2348094"/>
              <a:gd name="connsiteY2" fmla="*/ 0 h 2103752"/>
              <a:gd name="connsiteX3" fmla="*/ 1136967 w 2348094"/>
              <a:gd name="connsiteY3" fmla="*/ 2103752 h 2103752"/>
              <a:gd name="connsiteX4" fmla="*/ 0 w 2348094"/>
              <a:gd name="connsiteY4" fmla="*/ 2085822 h 2103752"/>
              <a:gd name="connsiteX0" fmla="*/ 0 w 2356361"/>
              <a:gd name="connsiteY0" fmla="*/ 2104709 h 2104709"/>
              <a:gd name="connsiteX1" fmla="*/ 1854908 w 2356361"/>
              <a:gd name="connsiteY1" fmla="*/ 0 h 2104709"/>
              <a:gd name="connsiteX2" fmla="*/ 2356361 w 2356361"/>
              <a:gd name="connsiteY2" fmla="*/ 0 h 2104709"/>
              <a:gd name="connsiteX3" fmla="*/ 1145234 w 2356361"/>
              <a:gd name="connsiteY3" fmla="*/ 2103752 h 2104709"/>
              <a:gd name="connsiteX4" fmla="*/ 0 w 2356361"/>
              <a:gd name="connsiteY4" fmla="*/ 2104709 h 210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361" h="2104709">
                <a:moveTo>
                  <a:pt x="0" y="2104709"/>
                </a:moveTo>
                <a:lnTo>
                  <a:pt x="1854908" y="0"/>
                </a:lnTo>
                <a:lnTo>
                  <a:pt x="2356361" y="0"/>
                </a:lnTo>
                <a:lnTo>
                  <a:pt x="1145234" y="2103752"/>
                </a:lnTo>
                <a:lnTo>
                  <a:pt x="0" y="2104709"/>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50" name="Group 549"/>
          <p:cNvGrpSpPr/>
          <p:nvPr/>
        </p:nvGrpSpPr>
        <p:grpSpPr>
          <a:xfrm flipH="1">
            <a:off x="4110648" y="2606452"/>
            <a:ext cx="848425" cy="678680"/>
            <a:chOff x="6159848" y="2649092"/>
            <a:chExt cx="848425" cy="678680"/>
          </a:xfrm>
        </p:grpSpPr>
        <p:grpSp>
          <p:nvGrpSpPr>
            <p:cNvPr id="551" name="Group 550"/>
            <p:cNvGrpSpPr/>
            <p:nvPr/>
          </p:nvGrpSpPr>
          <p:grpSpPr>
            <a:xfrm>
              <a:off x="6159848" y="3067772"/>
              <a:ext cx="255538" cy="260000"/>
              <a:chOff x="8629196" y="2775642"/>
              <a:chExt cx="1130448" cy="1150187"/>
            </a:xfrm>
          </p:grpSpPr>
          <p:sp>
            <p:nvSpPr>
              <p:cNvPr id="621" name="Parallelogram 62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5" name="Parallelogram 62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Rectangle 625"/>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2" name="Group 551"/>
            <p:cNvGrpSpPr/>
            <p:nvPr/>
          </p:nvGrpSpPr>
          <p:grpSpPr>
            <a:xfrm>
              <a:off x="6358475" y="3067772"/>
              <a:ext cx="255538" cy="260000"/>
              <a:chOff x="8629196" y="2775642"/>
              <a:chExt cx="1130448" cy="1150187"/>
            </a:xfrm>
          </p:grpSpPr>
          <p:sp>
            <p:nvSpPr>
              <p:cNvPr id="618" name="Parallelogram 617"/>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9" name="Parallelogram 618"/>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0" name="Rectangle 61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3" name="Group 552"/>
            <p:cNvGrpSpPr/>
            <p:nvPr/>
          </p:nvGrpSpPr>
          <p:grpSpPr>
            <a:xfrm>
              <a:off x="6554108" y="3067772"/>
              <a:ext cx="255538" cy="260000"/>
              <a:chOff x="8629196" y="2775642"/>
              <a:chExt cx="1130448" cy="1150187"/>
            </a:xfrm>
          </p:grpSpPr>
          <p:sp>
            <p:nvSpPr>
              <p:cNvPr id="615" name="Parallelogram 614"/>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6" name="Parallelogram 615"/>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7" name="Rectangle 616"/>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4" name="Group 553"/>
            <p:cNvGrpSpPr/>
            <p:nvPr/>
          </p:nvGrpSpPr>
          <p:grpSpPr>
            <a:xfrm>
              <a:off x="6752735" y="3067772"/>
              <a:ext cx="255538" cy="260000"/>
              <a:chOff x="8629196" y="2775642"/>
              <a:chExt cx="1130448" cy="1150187"/>
            </a:xfrm>
          </p:grpSpPr>
          <p:sp>
            <p:nvSpPr>
              <p:cNvPr id="612" name="Parallelogram 611"/>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3" name="Parallelogram 612"/>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4" name="Rectangle 613"/>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5" name="Group 554"/>
            <p:cNvGrpSpPr/>
            <p:nvPr/>
          </p:nvGrpSpPr>
          <p:grpSpPr>
            <a:xfrm>
              <a:off x="6261735" y="2858497"/>
              <a:ext cx="255538" cy="260000"/>
              <a:chOff x="8629196" y="2775642"/>
              <a:chExt cx="1130448" cy="1150187"/>
            </a:xfrm>
          </p:grpSpPr>
          <p:sp>
            <p:nvSpPr>
              <p:cNvPr id="594" name="Parallelogram 593"/>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5" name="Parallelogram 59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1" name="Rectangle 610"/>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6" name="Group 555"/>
            <p:cNvGrpSpPr/>
            <p:nvPr/>
          </p:nvGrpSpPr>
          <p:grpSpPr>
            <a:xfrm>
              <a:off x="6453382" y="2858497"/>
              <a:ext cx="255538" cy="260000"/>
              <a:chOff x="8629196" y="2775642"/>
              <a:chExt cx="1130448" cy="1150187"/>
            </a:xfrm>
          </p:grpSpPr>
          <p:sp>
            <p:nvSpPr>
              <p:cNvPr id="591" name="Parallelogram 59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2" name="Parallelogram 591"/>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3" name="Rectangle 592"/>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8" name="Group 557"/>
            <p:cNvGrpSpPr/>
            <p:nvPr/>
          </p:nvGrpSpPr>
          <p:grpSpPr>
            <a:xfrm>
              <a:off x="6651081" y="2858497"/>
              <a:ext cx="255538" cy="260000"/>
              <a:chOff x="8629196" y="2775642"/>
              <a:chExt cx="1130448" cy="1150187"/>
            </a:xfrm>
          </p:grpSpPr>
          <p:sp>
            <p:nvSpPr>
              <p:cNvPr id="586" name="Parallelogram 585"/>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8" name="Parallelogram 587"/>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0" name="Rectangle 58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9" name="Group 578"/>
            <p:cNvGrpSpPr/>
            <p:nvPr/>
          </p:nvGrpSpPr>
          <p:grpSpPr>
            <a:xfrm>
              <a:off x="6341132" y="2649092"/>
              <a:ext cx="255538" cy="260000"/>
              <a:chOff x="8629196" y="2744764"/>
              <a:chExt cx="1130448" cy="1150187"/>
            </a:xfrm>
          </p:grpSpPr>
          <p:sp>
            <p:nvSpPr>
              <p:cNvPr id="580" name="Parallelogram 579"/>
              <p:cNvSpPr/>
              <p:nvPr/>
            </p:nvSpPr>
            <p:spPr bwMode="auto">
              <a:xfrm>
                <a:off x="8629196" y="2744764"/>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Parallelogram 580"/>
              <p:cNvSpPr/>
              <p:nvPr/>
            </p:nvSpPr>
            <p:spPr bwMode="auto">
              <a:xfrm rot="16200000" flipH="1">
                <a:off x="9096106" y="319051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p:cNvSpPr/>
              <p:nvPr/>
            </p:nvSpPr>
            <p:spPr bwMode="auto">
              <a:xfrm>
                <a:off x="8636177" y="2999464"/>
                <a:ext cx="863136" cy="895487"/>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27" name="Group 626"/>
          <p:cNvGrpSpPr/>
          <p:nvPr/>
        </p:nvGrpSpPr>
        <p:grpSpPr>
          <a:xfrm>
            <a:off x="1982372" y="5306488"/>
            <a:ext cx="1532716" cy="1019627"/>
            <a:chOff x="8003531" y="4224448"/>
            <a:chExt cx="1115582" cy="1091367"/>
          </a:xfrm>
        </p:grpSpPr>
        <p:sp>
          <p:nvSpPr>
            <p:cNvPr id="628" name="Rectangle 627"/>
            <p:cNvSpPr/>
            <p:nvPr/>
          </p:nvSpPr>
          <p:spPr bwMode="auto">
            <a:xfrm flipH="1">
              <a:off x="8003531" y="4224448"/>
              <a:ext cx="1115582" cy="1091367"/>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US" sz="900" dirty="0">
                  <a:solidFill>
                    <a:srgbClr val="FFFFFF"/>
                  </a:solidFill>
                </a:rPr>
                <a:t>Aggregate product data, customer sentiment, and other third-party syndicated data to identify and correct quality issues. </a:t>
              </a:r>
            </a:p>
          </p:txBody>
        </p:sp>
        <p:cxnSp>
          <p:nvCxnSpPr>
            <p:cNvPr id="629" name="Straight Connector 628"/>
            <p:cNvCxnSpPr/>
            <p:nvPr/>
          </p:nvCxnSpPr>
          <p:spPr>
            <a:xfrm flipH="1" flipV="1">
              <a:off x="9114172" y="4227679"/>
              <a:ext cx="1" cy="1088136"/>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0" name="Group 629"/>
          <p:cNvGrpSpPr/>
          <p:nvPr/>
        </p:nvGrpSpPr>
        <p:grpSpPr>
          <a:xfrm>
            <a:off x="3475097" y="2000562"/>
            <a:ext cx="2096403" cy="575030"/>
            <a:chOff x="7650499" y="1995042"/>
            <a:chExt cx="1821532" cy="540554"/>
          </a:xfrm>
        </p:grpSpPr>
        <p:sp>
          <p:nvSpPr>
            <p:cNvPr id="631" name="Rectangle 630"/>
            <p:cNvSpPr/>
            <p:nvPr/>
          </p:nvSpPr>
          <p:spPr bwMode="auto">
            <a:xfrm flipH="1">
              <a:off x="7650499" y="1995042"/>
              <a:ext cx="1821532"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Manage equipment remotely, using temperature limits and other settings to conserve energy and reduce costs</a:t>
              </a:r>
              <a:r>
                <a:rPr lang="en-US" sz="900" dirty="0">
                  <a:ln w="3175">
                    <a:noFill/>
                  </a:ln>
                  <a:solidFill>
                    <a:srgbClr val="FFFFFF"/>
                  </a:solidFill>
                  <a:latin typeface="Segoe UI Light"/>
                  <a:cs typeface="Arial" charset="0"/>
                </a:rPr>
                <a:t>.</a:t>
              </a:r>
              <a:endParaRPr lang="en-US" sz="900" dirty="0">
                <a:ln w="3175">
                  <a:noFill/>
                </a:ln>
                <a:solidFill>
                  <a:srgbClr val="FFFFFF"/>
                </a:solidFill>
                <a:cs typeface="Arial" charset="0"/>
              </a:endParaRPr>
            </a:p>
          </p:txBody>
        </p:sp>
        <p:cxnSp>
          <p:nvCxnSpPr>
            <p:cNvPr id="632" name="Straight Connector 631"/>
            <p:cNvCxnSpPr/>
            <p:nvPr/>
          </p:nvCxnSpPr>
          <p:spPr>
            <a:xfrm flipH="1" flipV="1">
              <a:off x="9472029" y="1995526"/>
              <a:ext cx="1" cy="540070"/>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3" name="Group 632"/>
          <p:cNvGrpSpPr/>
          <p:nvPr/>
        </p:nvGrpSpPr>
        <p:grpSpPr>
          <a:xfrm>
            <a:off x="638882" y="2000560"/>
            <a:ext cx="2194849" cy="576448"/>
            <a:chOff x="3212078" y="2540764"/>
            <a:chExt cx="1723979" cy="569998"/>
          </a:xfrm>
        </p:grpSpPr>
        <p:sp>
          <p:nvSpPr>
            <p:cNvPr id="634" name="Rectangle 633"/>
            <p:cNvSpPr/>
            <p:nvPr/>
          </p:nvSpPr>
          <p:spPr bwMode="auto">
            <a:xfrm flipH="1">
              <a:off x="3212078" y="2540764"/>
              <a:ext cx="1723977" cy="56999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Monitor production flow in near-real time to eliminate waste and unnecessary work in process inventory.</a:t>
              </a:r>
              <a:endParaRPr lang="en-US" sz="900" dirty="0">
                <a:ln w="3175">
                  <a:noFill/>
                </a:ln>
                <a:solidFill>
                  <a:srgbClr val="FFFFFF"/>
                </a:solidFill>
                <a:cs typeface="Arial" charset="0"/>
              </a:endParaRPr>
            </a:p>
          </p:txBody>
        </p:sp>
        <p:cxnSp>
          <p:nvCxnSpPr>
            <p:cNvPr id="635" name="Straight Connector 634"/>
            <p:cNvCxnSpPr/>
            <p:nvPr/>
          </p:nvCxnSpPr>
          <p:spPr>
            <a:xfrm flipV="1">
              <a:off x="4936056" y="2540764"/>
              <a:ext cx="1" cy="568088"/>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6" name="Group 635"/>
          <p:cNvGrpSpPr>
            <a:grpSpLocks noChangeAspect="1"/>
          </p:cNvGrpSpPr>
          <p:nvPr/>
        </p:nvGrpSpPr>
        <p:grpSpPr>
          <a:xfrm>
            <a:off x="8035767" y="5446523"/>
            <a:ext cx="1647851" cy="861974"/>
            <a:chOff x="10071110" y="5541969"/>
            <a:chExt cx="1993902" cy="1042989"/>
          </a:xfrm>
        </p:grpSpPr>
        <p:sp>
          <p:nvSpPr>
            <p:cNvPr id="637" name="Freeform 15"/>
            <p:cNvSpPr>
              <a:spLocks/>
            </p:cNvSpPr>
            <p:nvPr/>
          </p:nvSpPr>
          <p:spPr bwMode="auto">
            <a:xfrm flipH="1">
              <a:off x="10079049"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38"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0"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2"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3"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22"/>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a:gradFill>
                  <a:gsLst>
                    <a:gs pos="0">
                      <a:srgbClr val="FFFFFF"/>
                    </a:gs>
                    <a:gs pos="100000">
                      <a:srgbClr val="FFFFFF"/>
                    </a:gs>
                  </a:gsLst>
                  <a:lin ang="5400000" scaled="0"/>
                </a:gradFill>
                <a:ea typeface="Segoe UI" pitchFamily="34" charset="0"/>
                <a:cs typeface="Segoe UI" pitchFamily="34" charset="0"/>
              </a:endParaRPr>
            </a:p>
          </p:txBody>
        </p:sp>
        <p:sp>
          <p:nvSpPr>
            <p:cNvPr id="647"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48" name="Rectangle 647"/>
          <p:cNvSpPr/>
          <p:nvPr/>
        </p:nvSpPr>
        <p:spPr>
          <a:xfrm>
            <a:off x="3836070" y="1491335"/>
            <a:ext cx="1829347" cy="261610"/>
          </a:xfrm>
          <a:prstGeom prst="rect">
            <a:avLst/>
          </a:prstGeom>
        </p:spPr>
        <p:txBody>
          <a:bodyPr wrap="none">
            <a:spAutoFit/>
          </a:bodyPr>
          <a:lstStyle/>
          <a:p>
            <a:r>
              <a:rPr lang="en-US" sz="1100" dirty="0">
                <a:solidFill>
                  <a:srgbClr val="FFFFFF"/>
                </a:solidFill>
              </a:rPr>
              <a:t>GLOBAL FACILITY INSIGHT</a:t>
            </a:r>
          </a:p>
        </p:txBody>
      </p:sp>
      <p:grpSp>
        <p:nvGrpSpPr>
          <p:cNvPr id="649" name="Group 648"/>
          <p:cNvGrpSpPr/>
          <p:nvPr/>
        </p:nvGrpSpPr>
        <p:grpSpPr>
          <a:xfrm>
            <a:off x="554993" y="5309505"/>
            <a:ext cx="1362456" cy="1016609"/>
            <a:chOff x="2415027" y="4679389"/>
            <a:chExt cx="1876653" cy="540070"/>
          </a:xfrm>
        </p:grpSpPr>
        <p:sp>
          <p:nvSpPr>
            <p:cNvPr id="650" name="Rectangle 649"/>
            <p:cNvSpPr/>
            <p:nvPr/>
          </p:nvSpPr>
          <p:spPr bwMode="auto">
            <a:xfrm flipH="1">
              <a:off x="2415027" y="4679389"/>
              <a:ext cx="1876653"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Implement condition-based maintenance alerts to eliminate machine down-time and increase throughput. </a:t>
              </a:r>
            </a:p>
          </p:txBody>
        </p:sp>
        <p:cxnSp>
          <p:nvCxnSpPr>
            <p:cNvPr id="651" name="Straight Connector 650"/>
            <p:cNvCxnSpPr/>
            <p:nvPr/>
          </p:nvCxnSpPr>
          <p:spPr>
            <a:xfrm flipH="1" flipV="1">
              <a:off x="2415028" y="4679389"/>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2" name="Rectangle 651"/>
          <p:cNvSpPr/>
          <p:nvPr/>
        </p:nvSpPr>
        <p:spPr>
          <a:xfrm>
            <a:off x="7975358" y="6310321"/>
            <a:ext cx="1733167" cy="261610"/>
          </a:xfrm>
          <a:prstGeom prst="rect">
            <a:avLst/>
          </a:prstGeom>
        </p:spPr>
        <p:txBody>
          <a:bodyPr wrap="none">
            <a:spAutoFit/>
          </a:bodyPr>
          <a:lstStyle/>
          <a:p>
            <a:r>
              <a:rPr lang="en-US" sz="1100" dirty="0">
                <a:solidFill>
                  <a:srgbClr val="FFFFFF"/>
                </a:solidFill>
              </a:rPr>
              <a:t>THIRD-PARTY LOGISTICS</a:t>
            </a:r>
          </a:p>
        </p:txBody>
      </p:sp>
      <p:grpSp>
        <p:nvGrpSpPr>
          <p:cNvPr id="654" name="Group 653"/>
          <p:cNvGrpSpPr/>
          <p:nvPr/>
        </p:nvGrpSpPr>
        <p:grpSpPr>
          <a:xfrm>
            <a:off x="7326834" y="4633742"/>
            <a:ext cx="2542668" cy="573260"/>
            <a:chOff x="10105390" y="3970577"/>
            <a:chExt cx="1833887" cy="1092942"/>
          </a:xfrm>
        </p:grpSpPr>
        <p:sp>
          <p:nvSpPr>
            <p:cNvPr id="658" name="Rectangle 657"/>
            <p:cNvSpPr/>
            <p:nvPr/>
          </p:nvSpPr>
          <p:spPr bwMode="auto">
            <a:xfrm>
              <a:off x="10105390" y="3970577"/>
              <a:ext cx="1833887" cy="109294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Provide cross-channel visibility into inventories to optimize supply and reduce shared costs in the value chain.</a:t>
              </a:r>
              <a:endParaRPr lang="en-US" sz="900" dirty="0">
                <a:ln w="3175">
                  <a:noFill/>
                </a:ln>
                <a:solidFill>
                  <a:srgbClr val="FFFFFF"/>
                </a:solidFill>
                <a:cs typeface="Arial" charset="0"/>
              </a:endParaRPr>
            </a:p>
          </p:txBody>
        </p:sp>
        <p:cxnSp>
          <p:nvCxnSpPr>
            <p:cNvPr id="659" name="Straight Connector 658"/>
            <p:cNvCxnSpPr/>
            <p:nvPr/>
          </p:nvCxnSpPr>
          <p:spPr>
            <a:xfrm flipV="1">
              <a:off x="10105390" y="3970577"/>
              <a:ext cx="1"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665" name="Straight Connector 664"/>
          <p:cNvCxnSpPr/>
          <p:nvPr/>
        </p:nvCxnSpPr>
        <p:spPr>
          <a:xfrm flipV="1">
            <a:off x="526214" y="1726526"/>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66" name="Group 665"/>
          <p:cNvGrpSpPr/>
          <p:nvPr/>
        </p:nvGrpSpPr>
        <p:grpSpPr>
          <a:xfrm>
            <a:off x="382433" y="1146452"/>
            <a:ext cx="712961" cy="585588"/>
            <a:chOff x="2015151" y="1146452"/>
            <a:chExt cx="712961" cy="585588"/>
          </a:xfrm>
        </p:grpSpPr>
        <p:grpSp>
          <p:nvGrpSpPr>
            <p:cNvPr id="667" name="Group 666"/>
            <p:cNvGrpSpPr/>
            <p:nvPr/>
          </p:nvGrpSpPr>
          <p:grpSpPr>
            <a:xfrm>
              <a:off x="2053479" y="1366494"/>
              <a:ext cx="626932" cy="326233"/>
              <a:chOff x="570141" y="1393030"/>
              <a:chExt cx="626932" cy="326233"/>
            </a:xfrm>
          </p:grpSpPr>
          <p:sp>
            <p:nvSpPr>
              <p:cNvPr id="670" name="Rectangle 669"/>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1" name="Rectangle 670"/>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69"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684" name="Elbow Connector 683"/>
          <p:cNvCxnSpPr>
            <a:stCxn id="741" idx="6"/>
            <a:endCxn id="650" idx="3"/>
          </p:cNvCxnSpPr>
          <p:nvPr/>
        </p:nvCxnSpPr>
        <p:spPr>
          <a:xfrm rot="10800000" flipV="1">
            <a:off x="554993" y="4428636"/>
            <a:ext cx="466836" cy="1389172"/>
          </a:xfrm>
          <a:prstGeom prst="bentConnector3">
            <a:avLst>
              <a:gd name="adj1" fmla="val 148968"/>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690" name="Rectangle 689"/>
          <p:cNvSpPr/>
          <p:nvPr/>
        </p:nvSpPr>
        <p:spPr bwMode="auto">
          <a:xfrm>
            <a:off x="309918" y="3231022"/>
            <a:ext cx="657933" cy="72601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91" name="Rectangle 690"/>
          <p:cNvSpPr/>
          <p:nvPr/>
        </p:nvSpPr>
        <p:spPr bwMode="auto">
          <a:xfrm>
            <a:off x="944197" y="3195847"/>
            <a:ext cx="76566" cy="76837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694" name="Rectangle 693"/>
          <p:cNvSpPr/>
          <p:nvPr/>
        </p:nvSpPr>
        <p:spPr bwMode="auto">
          <a:xfrm>
            <a:off x="841218" y="3140864"/>
            <a:ext cx="513175" cy="19765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695" name="Rectangle 447"/>
          <p:cNvSpPr/>
          <p:nvPr/>
        </p:nvSpPr>
        <p:spPr bwMode="auto">
          <a:xfrm>
            <a:off x="309918" y="3061155"/>
            <a:ext cx="914776" cy="16875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696" name="Group 695"/>
          <p:cNvGrpSpPr/>
          <p:nvPr/>
        </p:nvGrpSpPr>
        <p:grpSpPr>
          <a:xfrm>
            <a:off x="7466755" y="5711951"/>
            <a:ext cx="420564" cy="221533"/>
            <a:chOff x="9935190" y="5751992"/>
            <a:chExt cx="261135" cy="166441"/>
          </a:xfrm>
          <a:solidFill>
            <a:srgbClr val="00708E"/>
          </a:solidFill>
        </p:grpSpPr>
        <p:sp>
          <p:nvSpPr>
            <p:cNvPr id="698" name="Chevron 697"/>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99" name="Chevron 698"/>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00" name="Chevron 699"/>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06" name="Flowchart: Data 569"/>
          <p:cNvSpPr/>
          <p:nvPr/>
        </p:nvSpPr>
        <p:spPr bwMode="auto">
          <a:xfrm>
            <a:off x="465103" y="4884447"/>
            <a:ext cx="1914348" cy="24781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2000 w 10000"/>
              <a:gd name="connsiteY1" fmla="*/ 0 h 10000"/>
              <a:gd name="connsiteX2" fmla="*/ 10000 w 10000"/>
              <a:gd name="connsiteY2" fmla="*/ 0 h 10000"/>
              <a:gd name="connsiteX3" fmla="*/ 9206 w 10000"/>
              <a:gd name="connsiteY3" fmla="*/ 10000 h 10000"/>
              <a:gd name="connsiteX4" fmla="*/ 0 w 10000"/>
              <a:gd name="connsiteY4" fmla="*/ 10000 h 10000"/>
              <a:gd name="connsiteX0" fmla="*/ 0 w 10000"/>
              <a:gd name="connsiteY0" fmla="*/ 10000 h 10000"/>
              <a:gd name="connsiteX1" fmla="*/ 1035 w 10000"/>
              <a:gd name="connsiteY1" fmla="*/ 0 h 10000"/>
              <a:gd name="connsiteX2" fmla="*/ 10000 w 10000"/>
              <a:gd name="connsiteY2" fmla="*/ 0 h 10000"/>
              <a:gd name="connsiteX3" fmla="*/ 9206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35" y="0"/>
                </a:lnTo>
                <a:lnTo>
                  <a:pt x="10000" y="0"/>
                </a:lnTo>
                <a:cubicBezTo>
                  <a:pt x="9735" y="3333"/>
                  <a:pt x="9471" y="6667"/>
                  <a:pt x="9206" y="10000"/>
                </a:cubicBezTo>
                <a:lnTo>
                  <a:pt x="0" y="10000"/>
                </a:lnTo>
                <a:close/>
              </a:path>
            </a:pathLst>
          </a:cu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707" name="Group 706"/>
          <p:cNvGrpSpPr/>
          <p:nvPr/>
        </p:nvGrpSpPr>
        <p:grpSpPr>
          <a:xfrm>
            <a:off x="842426" y="3670472"/>
            <a:ext cx="1547912" cy="1292248"/>
            <a:chOff x="1048844" y="2929382"/>
            <a:chExt cx="2146850" cy="1792260"/>
          </a:xfrm>
        </p:grpSpPr>
        <p:sp>
          <p:nvSpPr>
            <p:cNvPr id="708" name="Rectangle 707"/>
            <p:cNvSpPr/>
            <p:nvPr/>
          </p:nvSpPr>
          <p:spPr bwMode="auto">
            <a:xfrm rot="19233811" flipH="1">
              <a:off x="1672997" y="4111453"/>
              <a:ext cx="265596" cy="33623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0"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11" name="Group 710"/>
            <p:cNvGrpSpPr/>
            <p:nvPr/>
          </p:nvGrpSpPr>
          <p:grpSpPr>
            <a:xfrm>
              <a:off x="1297664" y="3722455"/>
              <a:ext cx="516897" cy="516898"/>
              <a:chOff x="4394973" y="1762558"/>
              <a:chExt cx="352210" cy="352210"/>
            </a:xfrm>
          </p:grpSpPr>
          <p:grpSp>
            <p:nvGrpSpPr>
              <p:cNvPr id="738" name="Group 737"/>
              <p:cNvGrpSpPr/>
              <p:nvPr/>
            </p:nvGrpSpPr>
            <p:grpSpPr>
              <a:xfrm flipH="1">
                <a:off x="4394973" y="1762558"/>
                <a:ext cx="352210" cy="352210"/>
                <a:chOff x="5411363" y="1755522"/>
                <a:chExt cx="316187" cy="316187"/>
              </a:xfrm>
            </p:grpSpPr>
            <p:sp>
              <p:nvSpPr>
                <p:cNvPr id="741" name="Oval 740"/>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2" name="Oval 741"/>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3" name="Oval 742"/>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39" name="Rectangle 738"/>
              <p:cNvSpPr/>
              <p:nvPr/>
            </p:nvSpPr>
            <p:spPr bwMode="auto">
              <a:xfrm flipH="1">
                <a:off x="4553230" y="1780423"/>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0" name="Rectangle 739"/>
              <p:cNvSpPr/>
              <p:nvPr/>
            </p:nvSpPr>
            <p:spPr bwMode="auto">
              <a:xfrm rot="5400000" flipH="1">
                <a:off x="4561685" y="1786498"/>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2" name="Group 711"/>
            <p:cNvGrpSpPr/>
            <p:nvPr/>
          </p:nvGrpSpPr>
          <p:grpSpPr>
            <a:xfrm>
              <a:off x="1830772" y="2929382"/>
              <a:ext cx="375748" cy="375748"/>
              <a:chOff x="4394973" y="1762558"/>
              <a:chExt cx="352210" cy="352210"/>
            </a:xfrm>
          </p:grpSpPr>
          <p:grpSp>
            <p:nvGrpSpPr>
              <p:cNvPr id="731" name="Group 730"/>
              <p:cNvGrpSpPr/>
              <p:nvPr/>
            </p:nvGrpSpPr>
            <p:grpSpPr>
              <a:xfrm flipH="1">
                <a:off x="4394973" y="1762558"/>
                <a:ext cx="352210" cy="352210"/>
                <a:chOff x="5411363" y="1755522"/>
                <a:chExt cx="316187" cy="316187"/>
              </a:xfrm>
            </p:grpSpPr>
            <p:sp>
              <p:nvSpPr>
                <p:cNvPr id="734" name="Oval 73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5" name="Oval 73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7" name="Oval 736"/>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32" name="Rectangle 731"/>
              <p:cNvSpPr/>
              <p:nvPr/>
            </p:nvSpPr>
            <p:spPr bwMode="auto">
              <a:xfrm flipH="1">
                <a:off x="4553231" y="1789294"/>
                <a:ext cx="35695" cy="286445"/>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3" name="Rectangle 732"/>
              <p:cNvSpPr/>
              <p:nvPr/>
            </p:nvSpPr>
            <p:spPr bwMode="auto">
              <a:xfrm rot="5400000" flipH="1">
                <a:off x="4556016" y="1795437"/>
                <a:ext cx="35695" cy="286447"/>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3" name="Group 712"/>
            <p:cNvGrpSpPr/>
            <p:nvPr/>
          </p:nvGrpSpPr>
          <p:grpSpPr>
            <a:xfrm rot="20781386">
              <a:off x="2789459" y="3462425"/>
              <a:ext cx="406235" cy="662070"/>
              <a:chOff x="6203753" y="1569838"/>
              <a:chExt cx="276805" cy="451130"/>
            </a:xfrm>
          </p:grpSpPr>
          <p:sp>
            <p:nvSpPr>
              <p:cNvPr id="723" name="Rectangle 722"/>
              <p:cNvSpPr/>
              <p:nvPr/>
            </p:nvSpPr>
            <p:spPr bwMode="auto">
              <a:xfrm rot="10800000" flipH="1">
                <a:off x="6289818" y="1569838"/>
                <a:ext cx="96717" cy="17378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4" name="Oval 723"/>
              <p:cNvSpPr/>
              <p:nvPr/>
            </p:nvSpPr>
            <p:spPr bwMode="auto">
              <a:xfrm rot="10737439" flipH="1">
                <a:off x="6286686" y="1707639"/>
                <a:ext cx="110946" cy="110946"/>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25" name="Group 724"/>
              <p:cNvGrpSpPr/>
              <p:nvPr/>
            </p:nvGrpSpPr>
            <p:grpSpPr>
              <a:xfrm>
                <a:off x="6203753" y="1748133"/>
                <a:ext cx="99173" cy="272835"/>
                <a:chOff x="5430362" y="1772113"/>
                <a:chExt cx="99173" cy="272835"/>
              </a:xfrm>
            </p:grpSpPr>
            <p:sp>
              <p:nvSpPr>
                <p:cNvPr id="729" name="Rectangle 728"/>
                <p:cNvSpPr/>
                <p:nvPr/>
              </p:nvSpPr>
              <p:spPr bwMode="auto">
                <a:xfrm rot="13260000" flipH="1">
                  <a:off x="5468027" y="1772113"/>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0" name="Diagonal Stripe 729"/>
                <p:cNvSpPr/>
                <p:nvPr/>
              </p:nvSpPr>
              <p:spPr bwMode="auto">
                <a:xfrm rot="19432650">
                  <a:off x="5430362" y="1862068"/>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26" name="Group 725"/>
              <p:cNvGrpSpPr/>
              <p:nvPr/>
            </p:nvGrpSpPr>
            <p:grpSpPr>
              <a:xfrm flipH="1">
                <a:off x="6381385" y="1748134"/>
                <a:ext cx="99173" cy="272833"/>
                <a:chOff x="5422401" y="1772114"/>
                <a:chExt cx="99173" cy="272833"/>
              </a:xfrm>
            </p:grpSpPr>
            <p:sp>
              <p:nvSpPr>
                <p:cNvPr id="727" name="Rectangle 726"/>
                <p:cNvSpPr/>
                <p:nvPr/>
              </p:nvSpPr>
              <p:spPr bwMode="auto">
                <a:xfrm rot="13260000" flipH="1">
                  <a:off x="5460058" y="1772114"/>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8" name="Diagonal Stripe 727"/>
                <p:cNvSpPr/>
                <p:nvPr/>
              </p:nvSpPr>
              <p:spPr bwMode="auto">
                <a:xfrm rot="19432650">
                  <a:off x="5422401" y="1862067"/>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14" name="Group 713"/>
            <p:cNvGrpSpPr/>
            <p:nvPr/>
          </p:nvGrpSpPr>
          <p:grpSpPr>
            <a:xfrm>
              <a:off x="2732452" y="3244007"/>
              <a:ext cx="281811" cy="281811"/>
              <a:chOff x="4394973" y="1762558"/>
              <a:chExt cx="352210" cy="352210"/>
            </a:xfrm>
          </p:grpSpPr>
          <p:grpSp>
            <p:nvGrpSpPr>
              <p:cNvPr id="717" name="Group 716"/>
              <p:cNvGrpSpPr/>
              <p:nvPr/>
            </p:nvGrpSpPr>
            <p:grpSpPr>
              <a:xfrm flipH="1">
                <a:off x="4394973" y="1762558"/>
                <a:ext cx="352210" cy="352210"/>
                <a:chOff x="5411363" y="1755522"/>
                <a:chExt cx="316187" cy="316187"/>
              </a:xfrm>
            </p:grpSpPr>
            <p:sp>
              <p:nvSpPr>
                <p:cNvPr id="720" name="Oval 719"/>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1" name="Oval 720"/>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2" name="Oval 721"/>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18" name="Rectangle 717"/>
              <p:cNvSpPr/>
              <p:nvPr/>
            </p:nvSpPr>
            <p:spPr bwMode="auto">
              <a:xfrm flipH="1">
                <a:off x="4553229" y="1795031"/>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9" name="Rectangle 718"/>
              <p:cNvSpPr/>
              <p:nvPr/>
            </p:nvSpPr>
            <p:spPr bwMode="auto">
              <a:xfrm rot="5400000" flipH="1">
                <a:off x="4559388" y="1806456"/>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15" name="Rounded Rectangle 714"/>
            <p:cNvSpPr/>
            <p:nvPr/>
          </p:nvSpPr>
          <p:spPr bwMode="auto">
            <a:xfrm flipH="1">
              <a:off x="1188631" y="4306131"/>
              <a:ext cx="1241311" cy="391405"/>
            </a:xfrm>
            <a:prstGeom prst="round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6" name="Rounded Rectangle 715"/>
            <p:cNvSpPr/>
            <p:nvPr/>
          </p:nvSpPr>
          <p:spPr bwMode="auto">
            <a:xfrm flipH="1">
              <a:off x="1048844" y="4501833"/>
              <a:ext cx="1520885" cy="219809"/>
            </a:xfrm>
            <a:prstGeom prst="round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44" name="Group 743"/>
          <p:cNvGrpSpPr>
            <a:grpSpLocks noChangeAspect="1"/>
          </p:cNvGrpSpPr>
          <p:nvPr/>
        </p:nvGrpSpPr>
        <p:grpSpPr>
          <a:xfrm>
            <a:off x="2479487" y="4265653"/>
            <a:ext cx="259949" cy="665269"/>
            <a:chOff x="-3051175" y="-1057275"/>
            <a:chExt cx="2679700" cy="6858000"/>
          </a:xfrm>
        </p:grpSpPr>
        <p:sp>
          <p:nvSpPr>
            <p:cNvPr id="745"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0" name="Group 749"/>
          <p:cNvGrpSpPr>
            <a:grpSpLocks noChangeAspect="1"/>
          </p:cNvGrpSpPr>
          <p:nvPr/>
        </p:nvGrpSpPr>
        <p:grpSpPr>
          <a:xfrm>
            <a:off x="3797168" y="3596539"/>
            <a:ext cx="185820" cy="475556"/>
            <a:chOff x="-3051175" y="-1057275"/>
            <a:chExt cx="2679700" cy="6858000"/>
          </a:xfrm>
        </p:grpSpPr>
        <p:sp>
          <p:nvSpPr>
            <p:cNvPr id="751"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3" name="Group 752"/>
          <p:cNvGrpSpPr>
            <a:grpSpLocks noChangeAspect="1"/>
          </p:cNvGrpSpPr>
          <p:nvPr/>
        </p:nvGrpSpPr>
        <p:grpSpPr>
          <a:xfrm>
            <a:off x="6159691" y="1327675"/>
            <a:ext cx="141055" cy="115855"/>
            <a:chOff x="8049916" y="869239"/>
            <a:chExt cx="712961" cy="585588"/>
          </a:xfrm>
        </p:grpSpPr>
        <p:grpSp>
          <p:nvGrpSpPr>
            <p:cNvPr id="754" name="Group 753"/>
            <p:cNvGrpSpPr/>
            <p:nvPr/>
          </p:nvGrpSpPr>
          <p:grpSpPr>
            <a:xfrm>
              <a:off x="8088244" y="1089281"/>
              <a:ext cx="626932" cy="326233"/>
              <a:chOff x="570141" y="1393030"/>
              <a:chExt cx="626932" cy="326233"/>
            </a:xfrm>
          </p:grpSpPr>
          <p:sp>
            <p:nvSpPr>
              <p:cNvPr id="756" name="Rectangle 75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57" name="Rectangle 75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5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58" name="Group 757"/>
          <p:cNvGrpSpPr>
            <a:grpSpLocks noChangeAspect="1"/>
          </p:cNvGrpSpPr>
          <p:nvPr/>
        </p:nvGrpSpPr>
        <p:grpSpPr>
          <a:xfrm>
            <a:off x="5611983" y="1640336"/>
            <a:ext cx="128232" cy="105323"/>
            <a:chOff x="8049916" y="869239"/>
            <a:chExt cx="712961" cy="585588"/>
          </a:xfrm>
        </p:grpSpPr>
        <p:grpSp>
          <p:nvGrpSpPr>
            <p:cNvPr id="759" name="Group 758"/>
            <p:cNvGrpSpPr/>
            <p:nvPr/>
          </p:nvGrpSpPr>
          <p:grpSpPr>
            <a:xfrm>
              <a:off x="8088244" y="1089281"/>
              <a:ext cx="626932" cy="326233"/>
              <a:chOff x="570141" y="1393030"/>
              <a:chExt cx="626932" cy="326233"/>
            </a:xfrm>
          </p:grpSpPr>
          <p:sp>
            <p:nvSpPr>
              <p:cNvPr id="761" name="Rectangle 76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62" name="Rectangle 76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6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63" name="Group 762"/>
          <p:cNvGrpSpPr>
            <a:grpSpLocks noChangeAspect="1"/>
          </p:cNvGrpSpPr>
          <p:nvPr/>
        </p:nvGrpSpPr>
        <p:grpSpPr>
          <a:xfrm>
            <a:off x="6500949" y="1444473"/>
            <a:ext cx="141055" cy="115855"/>
            <a:chOff x="8049916" y="869239"/>
            <a:chExt cx="712961" cy="585588"/>
          </a:xfrm>
        </p:grpSpPr>
        <p:grpSp>
          <p:nvGrpSpPr>
            <p:cNvPr id="764" name="Group 763"/>
            <p:cNvGrpSpPr/>
            <p:nvPr/>
          </p:nvGrpSpPr>
          <p:grpSpPr>
            <a:xfrm>
              <a:off x="8088244" y="1089281"/>
              <a:ext cx="626932" cy="326233"/>
              <a:chOff x="570141" y="1393030"/>
              <a:chExt cx="626932" cy="326233"/>
            </a:xfrm>
          </p:grpSpPr>
          <p:sp>
            <p:nvSpPr>
              <p:cNvPr id="766" name="Rectangle 76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67" name="Rectangle 76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6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68" name="Group 767"/>
          <p:cNvGrpSpPr>
            <a:grpSpLocks noChangeAspect="1"/>
          </p:cNvGrpSpPr>
          <p:nvPr/>
        </p:nvGrpSpPr>
        <p:grpSpPr>
          <a:xfrm>
            <a:off x="6134798" y="1634800"/>
            <a:ext cx="141055" cy="115855"/>
            <a:chOff x="8049916" y="869239"/>
            <a:chExt cx="712961" cy="585588"/>
          </a:xfrm>
        </p:grpSpPr>
        <p:grpSp>
          <p:nvGrpSpPr>
            <p:cNvPr id="769" name="Group 768"/>
            <p:cNvGrpSpPr/>
            <p:nvPr/>
          </p:nvGrpSpPr>
          <p:grpSpPr>
            <a:xfrm>
              <a:off x="8088244" y="1089281"/>
              <a:ext cx="626932" cy="326233"/>
              <a:chOff x="570141" y="1393030"/>
              <a:chExt cx="626932" cy="326233"/>
            </a:xfrm>
          </p:grpSpPr>
          <p:sp>
            <p:nvSpPr>
              <p:cNvPr id="771" name="Rectangle 77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72" name="Rectangle 77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7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90" name="Rectangle 789"/>
          <p:cNvSpPr/>
          <p:nvPr/>
        </p:nvSpPr>
        <p:spPr>
          <a:xfrm>
            <a:off x="8177290" y="1491335"/>
            <a:ext cx="1202573" cy="261610"/>
          </a:xfrm>
          <a:prstGeom prst="rect">
            <a:avLst/>
          </a:prstGeom>
        </p:spPr>
        <p:txBody>
          <a:bodyPr wrap="none">
            <a:spAutoFit/>
          </a:bodyPr>
          <a:lstStyle/>
          <a:p>
            <a:r>
              <a:rPr lang="en-US" sz="1100" dirty="0">
                <a:solidFill>
                  <a:srgbClr val="FFFFFF"/>
                </a:solidFill>
              </a:rPr>
              <a:t>CUSTOMER SITE</a:t>
            </a:r>
          </a:p>
        </p:txBody>
      </p:sp>
      <p:cxnSp>
        <p:nvCxnSpPr>
          <p:cNvPr id="791" name="Straight Connector 790"/>
          <p:cNvCxnSpPr/>
          <p:nvPr/>
        </p:nvCxnSpPr>
        <p:spPr>
          <a:xfrm flipV="1">
            <a:off x="7637150" y="1733231"/>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92" name="Group 791"/>
          <p:cNvGrpSpPr/>
          <p:nvPr/>
        </p:nvGrpSpPr>
        <p:grpSpPr>
          <a:xfrm>
            <a:off x="5987880" y="2005369"/>
            <a:ext cx="511465" cy="588053"/>
            <a:chOff x="6657794" y="1053101"/>
            <a:chExt cx="680759" cy="782698"/>
          </a:xfrm>
        </p:grpSpPr>
        <p:sp>
          <p:nvSpPr>
            <p:cNvPr id="793" name="Rectangle 792"/>
            <p:cNvSpPr/>
            <p:nvPr/>
          </p:nvSpPr>
          <p:spPr bwMode="auto">
            <a:xfrm>
              <a:off x="6657794" y="1053101"/>
              <a:ext cx="680759" cy="782698"/>
            </a:xfrm>
            <a:prstGeom prst="rect">
              <a:avLst/>
            </a:prstGeom>
            <a:solidFill>
              <a:srgbClr val="FCC12E">
                <a:alpha val="25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794" name="Group 793"/>
            <p:cNvGrpSpPr/>
            <p:nvPr/>
          </p:nvGrpSpPr>
          <p:grpSpPr>
            <a:xfrm>
              <a:off x="6724116" y="1154520"/>
              <a:ext cx="547340" cy="626953"/>
              <a:chOff x="6983648" y="1445099"/>
              <a:chExt cx="547340" cy="626953"/>
            </a:xfrm>
          </p:grpSpPr>
          <p:grpSp>
            <p:nvGrpSpPr>
              <p:cNvPr id="795" name="Group 794"/>
              <p:cNvGrpSpPr/>
              <p:nvPr/>
            </p:nvGrpSpPr>
            <p:grpSpPr>
              <a:xfrm>
                <a:off x="7194775" y="1531034"/>
                <a:ext cx="142870" cy="365650"/>
                <a:chOff x="7010073" y="1548130"/>
                <a:chExt cx="1648459" cy="4218939"/>
              </a:xfrm>
              <a:solidFill>
                <a:schemeClr val="accent2"/>
              </a:solidFill>
            </p:grpSpPr>
            <p:sp>
              <p:nvSpPr>
                <p:cNvPr id="797"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sp>
              <p:nvSpPr>
                <p:cNvPr id="7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grpSp>
          <p:sp>
            <p:nvSpPr>
              <p:cNvPr id="796"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99" name="Group 798"/>
          <p:cNvGrpSpPr>
            <a:grpSpLocks noChangeAspect="1"/>
          </p:cNvGrpSpPr>
          <p:nvPr/>
        </p:nvGrpSpPr>
        <p:grpSpPr>
          <a:xfrm>
            <a:off x="2202713" y="3357271"/>
            <a:ext cx="254191" cy="208701"/>
            <a:chOff x="-4435475" y="1371600"/>
            <a:chExt cx="4435475" cy="3641725"/>
          </a:xfrm>
        </p:grpSpPr>
        <p:sp>
          <p:nvSpPr>
            <p:cNvPr id="802"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03" name="Group 802"/>
            <p:cNvGrpSpPr/>
            <p:nvPr/>
          </p:nvGrpSpPr>
          <p:grpSpPr>
            <a:xfrm>
              <a:off x="-4206871" y="1603382"/>
              <a:ext cx="3978266" cy="3168652"/>
              <a:chOff x="-4206875" y="1603375"/>
              <a:chExt cx="3978275" cy="3168650"/>
            </a:xfrm>
            <a:solidFill>
              <a:schemeClr val="bg1"/>
            </a:solidFill>
          </p:grpSpPr>
          <p:sp>
            <p:nvSpPr>
              <p:cNvPr id="80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14" name="Group 813"/>
          <p:cNvGrpSpPr>
            <a:grpSpLocks noChangeAspect="1"/>
          </p:cNvGrpSpPr>
          <p:nvPr/>
        </p:nvGrpSpPr>
        <p:grpSpPr>
          <a:xfrm>
            <a:off x="2962841" y="3357271"/>
            <a:ext cx="254191" cy="208701"/>
            <a:chOff x="-4435475" y="1371600"/>
            <a:chExt cx="4435475" cy="3641725"/>
          </a:xfrm>
        </p:grpSpPr>
        <p:sp>
          <p:nvSpPr>
            <p:cNvPr id="81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815"/>
            <p:cNvGrpSpPr/>
            <p:nvPr/>
          </p:nvGrpSpPr>
          <p:grpSpPr>
            <a:xfrm>
              <a:off x="-4206871" y="1603382"/>
              <a:ext cx="3978266" cy="3168652"/>
              <a:chOff x="-4206875" y="1603375"/>
              <a:chExt cx="3978275" cy="3168650"/>
            </a:xfrm>
            <a:solidFill>
              <a:schemeClr val="bg1"/>
            </a:solidFill>
          </p:grpSpPr>
          <p:sp>
            <p:nvSpPr>
              <p:cNvPr id="81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26" name="Group 825"/>
          <p:cNvGrpSpPr>
            <a:grpSpLocks noChangeAspect="1"/>
          </p:cNvGrpSpPr>
          <p:nvPr/>
        </p:nvGrpSpPr>
        <p:grpSpPr>
          <a:xfrm>
            <a:off x="3960046" y="3357271"/>
            <a:ext cx="254191" cy="208701"/>
            <a:chOff x="-4435475" y="1371600"/>
            <a:chExt cx="4435475" cy="3641725"/>
          </a:xfrm>
        </p:grpSpPr>
        <p:sp>
          <p:nvSpPr>
            <p:cNvPr id="827"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8" name="Group 827"/>
            <p:cNvGrpSpPr/>
            <p:nvPr/>
          </p:nvGrpSpPr>
          <p:grpSpPr>
            <a:xfrm>
              <a:off x="-4206871" y="1603382"/>
              <a:ext cx="3978266" cy="3168652"/>
              <a:chOff x="-4206875" y="1603375"/>
              <a:chExt cx="3978275" cy="3168650"/>
            </a:xfrm>
            <a:solidFill>
              <a:schemeClr val="bg1"/>
            </a:solidFill>
          </p:grpSpPr>
          <p:sp>
            <p:nvSpPr>
              <p:cNvPr id="829"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45" name="Group 844"/>
          <p:cNvGrpSpPr/>
          <p:nvPr/>
        </p:nvGrpSpPr>
        <p:grpSpPr>
          <a:xfrm>
            <a:off x="4375725" y="3714433"/>
            <a:ext cx="356514" cy="258460"/>
            <a:chOff x="6227763" y="3667125"/>
            <a:chExt cx="395287" cy="312737"/>
          </a:xfrm>
        </p:grpSpPr>
        <p:sp>
          <p:nvSpPr>
            <p:cNvPr id="861" name="Freeform 96"/>
            <p:cNvSpPr>
              <a:spLocks/>
            </p:cNvSpPr>
            <p:nvPr/>
          </p:nvSpPr>
          <p:spPr bwMode="auto">
            <a:xfrm>
              <a:off x="6300788" y="3667125"/>
              <a:ext cx="266700" cy="84137"/>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2" name="Rectangle 97"/>
            <p:cNvSpPr>
              <a:spLocks noChangeArrowheads="1"/>
            </p:cNvSpPr>
            <p:nvPr/>
          </p:nvSpPr>
          <p:spPr bwMode="auto">
            <a:xfrm>
              <a:off x="6300788" y="3667125"/>
              <a:ext cx="192087" cy="873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3" name="Freeform 98"/>
            <p:cNvSpPr>
              <a:spLocks/>
            </p:cNvSpPr>
            <p:nvPr/>
          </p:nvSpPr>
          <p:spPr bwMode="auto">
            <a:xfrm>
              <a:off x="6302375" y="3667125"/>
              <a:ext cx="74612" cy="312737"/>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4" name="Freeform 99"/>
            <p:cNvSpPr>
              <a:spLocks/>
            </p:cNvSpPr>
            <p:nvPr/>
          </p:nvSpPr>
          <p:spPr bwMode="auto">
            <a:xfrm>
              <a:off x="6227763" y="3667125"/>
              <a:ext cx="150812" cy="138112"/>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Lst>
              <a:ahLst/>
              <a:cxnLst>
                <a:cxn ang="0">
                  <a:pos x="T0" y="T1"/>
                </a:cxn>
                <a:cxn ang="0">
                  <a:pos x="T2" y="T3"/>
                </a:cxn>
                <a:cxn ang="0">
                  <a:pos x="T4" y="T5"/>
                </a:cxn>
                <a:cxn ang="0">
                  <a:pos x="T6" y="T7"/>
                </a:cxn>
                <a:cxn ang="0">
                  <a:pos x="T8" y="T9"/>
                </a:cxn>
              </a:cxnLst>
              <a:rect l="0" t="0" r="r" b="b"/>
              <a:pathLst>
                <a:path w="850" h="702">
                  <a:moveTo>
                    <a:pt x="0" y="272"/>
                  </a:moveTo>
                  <a:lnTo>
                    <a:pt x="412" y="0"/>
                  </a:lnTo>
                  <a:lnTo>
                    <a:pt x="850" y="430"/>
                  </a:lnTo>
                  <a:lnTo>
                    <a:pt x="438" y="702"/>
                  </a:lnTo>
                  <a:lnTo>
                    <a:pt x="0" y="272"/>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5" name="Freeform 100"/>
            <p:cNvSpPr>
              <a:spLocks/>
            </p:cNvSpPr>
            <p:nvPr/>
          </p:nvSpPr>
          <p:spPr bwMode="auto">
            <a:xfrm>
              <a:off x="6492875" y="3667125"/>
              <a:ext cx="130175" cy="107950"/>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6" name="Rectangle 101"/>
            <p:cNvSpPr>
              <a:spLocks noChangeArrowheads="1"/>
            </p:cNvSpPr>
            <p:nvPr/>
          </p:nvSpPr>
          <p:spPr bwMode="auto">
            <a:xfrm>
              <a:off x="6376988" y="3752850"/>
              <a:ext cx="192087" cy="2270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7" name="Freeform 102"/>
            <p:cNvSpPr>
              <a:spLocks/>
            </p:cNvSpPr>
            <p:nvPr/>
          </p:nvSpPr>
          <p:spPr bwMode="auto">
            <a:xfrm>
              <a:off x="6376988" y="3752850"/>
              <a:ext cx="227012" cy="80962"/>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grpSp>
      <p:grpSp>
        <p:nvGrpSpPr>
          <p:cNvPr id="882" name="Group 881"/>
          <p:cNvGrpSpPr/>
          <p:nvPr/>
        </p:nvGrpSpPr>
        <p:grpSpPr>
          <a:xfrm flipH="1">
            <a:off x="4578001" y="4082939"/>
            <a:ext cx="251324" cy="257468"/>
            <a:chOff x="8647838" y="2755964"/>
            <a:chExt cx="1111808" cy="1138987"/>
          </a:xfrm>
        </p:grpSpPr>
        <p:sp>
          <p:nvSpPr>
            <p:cNvPr id="883" name="Parallelogram 882"/>
            <p:cNvSpPr/>
            <p:nvPr/>
          </p:nvSpPr>
          <p:spPr bwMode="auto">
            <a:xfrm>
              <a:off x="8647838" y="2763406"/>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4" name="Parallelogram 883"/>
            <p:cNvSpPr/>
            <p:nvPr/>
          </p:nvSpPr>
          <p:spPr bwMode="auto">
            <a:xfrm rot="16200000" flipH="1">
              <a:off x="9066878" y="3201371"/>
              <a:ext cx="1138176" cy="247361"/>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5" name="Rectangle 884"/>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86" name="Group 885"/>
          <p:cNvGrpSpPr/>
          <p:nvPr/>
        </p:nvGrpSpPr>
        <p:grpSpPr>
          <a:xfrm flipH="1">
            <a:off x="4760449" y="4475458"/>
            <a:ext cx="251324" cy="260000"/>
            <a:chOff x="8647838" y="2744764"/>
            <a:chExt cx="1111808" cy="1150187"/>
          </a:xfrm>
        </p:grpSpPr>
        <p:sp>
          <p:nvSpPr>
            <p:cNvPr id="887" name="Parallelogram 886"/>
            <p:cNvSpPr/>
            <p:nvPr/>
          </p:nvSpPr>
          <p:spPr bwMode="auto">
            <a:xfrm>
              <a:off x="8647838"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8" name="Parallelogram 887"/>
            <p:cNvSpPr/>
            <p:nvPr/>
          </p:nvSpPr>
          <p:spPr bwMode="auto">
            <a:xfrm rot="16200000" flipH="1">
              <a:off x="9080145" y="3208665"/>
              <a:ext cx="1132204" cy="226799"/>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98" name="Rectangle 897"/>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1" name="Group 900"/>
          <p:cNvGrpSpPr/>
          <p:nvPr/>
        </p:nvGrpSpPr>
        <p:grpSpPr>
          <a:xfrm flipH="1">
            <a:off x="5149103" y="5320084"/>
            <a:ext cx="365740" cy="377488"/>
            <a:chOff x="8642653" y="2742509"/>
            <a:chExt cx="1103537" cy="1138985"/>
          </a:xfrm>
        </p:grpSpPr>
        <p:sp>
          <p:nvSpPr>
            <p:cNvPr id="902" name="Parallelogram 901"/>
            <p:cNvSpPr/>
            <p:nvPr/>
          </p:nvSpPr>
          <p:spPr bwMode="auto">
            <a:xfrm>
              <a:off x="8642653" y="2744764"/>
              <a:ext cx="1098085"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903" name="Parallelogram 902"/>
            <p:cNvSpPr/>
            <p:nvPr/>
          </p:nvSpPr>
          <p:spPr bwMode="auto">
            <a:xfrm rot="16200000" flipH="1">
              <a:off x="9065447" y="3195862"/>
              <a:ext cx="1134096" cy="227390"/>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904" name="Rectangle 903"/>
            <p:cNvSpPr/>
            <p:nvPr/>
          </p:nvSpPr>
          <p:spPr bwMode="auto">
            <a:xfrm>
              <a:off x="8649635" y="2986007"/>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32" name="Group 931"/>
          <p:cNvGrpSpPr>
            <a:grpSpLocks noChangeAspect="1"/>
          </p:cNvGrpSpPr>
          <p:nvPr/>
        </p:nvGrpSpPr>
        <p:grpSpPr>
          <a:xfrm rot="1687298">
            <a:off x="4548170" y="3479139"/>
            <a:ext cx="254191" cy="208701"/>
            <a:chOff x="-4435475" y="1371600"/>
            <a:chExt cx="4435475" cy="3641725"/>
          </a:xfrm>
        </p:grpSpPr>
        <p:sp>
          <p:nvSpPr>
            <p:cNvPr id="933"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34" name="Group 933"/>
            <p:cNvGrpSpPr/>
            <p:nvPr/>
          </p:nvGrpSpPr>
          <p:grpSpPr>
            <a:xfrm>
              <a:off x="-4206877" y="1603380"/>
              <a:ext cx="3978266" cy="3168652"/>
              <a:chOff x="-4206875" y="1603375"/>
              <a:chExt cx="3978275" cy="3168650"/>
            </a:xfrm>
            <a:solidFill>
              <a:schemeClr val="bg1"/>
            </a:solidFill>
          </p:grpSpPr>
          <p:sp>
            <p:nvSpPr>
              <p:cNvPr id="93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943" name="Elbow Connector 942"/>
          <p:cNvCxnSpPr>
            <a:endCxn id="628" idx="1"/>
          </p:cNvCxnSpPr>
          <p:nvPr/>
        </p:nvCxnSpPr>
        <p:spPr>
          <a:xfrm rot="10800000" flipV="1">
            <a:off x="3515090" y="4835263"/>
            <a:ext cx="2225709" cy="981038"/>
          </a:xfrm>
          <a:prstGeom prst="bentConnector3">
            <a:avLst>
              <a:gd name="adj1" fmla="val 50000"/>
            </a:avLst>
          </a:prstGeom>
          <a:solidFill>
            <a:srgbClr val="8DC548">
              <a:alpha val="25000"/>
            </a:srgbClr>
          </a:solidFill>
          <a:ln w="19050">
            <a:solidFill>
              <a:srgbClr val="8DC54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4" name="Group 943"/>
          <p:cNvGrpSpPr>
            <a:grpSpLocks noChangeAspect="1"/>
          </p:cNvGrpSpPr>
          <p:nvPr/>
        </p:nvGrpSpPr>
        <p:grpSpPr>
          <a:xfrm>
            <a:off x="7338709" y="1367721"/>
            <a:ext cx="818170" cy="366634"/>
            <a:chOff x="14786043" y="1650860"/>
            <a:chExt cx="7326144" cy="3282950"/>
          </a:xfrm>
        </p:grpSpPr>
        <p:sp>
          <p:nvSpPr>
            <p:cNvPr id="945" name="Rectangle 944"/>
            <p:cNvSpPr/>
            <p:nvPr/>
          </p:nvSpPr>
          <p:spPr bwMode="auto">
            <a:xfrm>
              <a:off x="19192672" y="2926427"/>
              <a:ext cx="2743196"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6" name="Rectangle 1117"/>
            <p:cNvSpPr/>
            <p:nvPr/>
          </p:nvSpPr>
          <p:spPr bwMode="auto">
            <a:xfrm>
              <a:off x="15972820" y="1983342"/>
              <a:ext cx="1945529" cy="2503075"/>
            </a:xfrm>
            <a:custGeom>
              <a:avLst/>
              <a:gdLst/>
              <a:ahLst/>
              <a:cxnLst/>
              <a:rect l="l" t="t" r="r" b="b"/>
              <a:pathLst>
                <a:path w="1945531" h="2503072">
                  <a:moveTo>
                    <a:pt x="0" y="0"/>
                  </a:moveTo>
                  <a:lnTo>
                    <a:pt x="1945531" y="0"/>
                  </a:lnTo>
                  <a:lnTo>
                    <a:pt x="1945531" y="2503072"/>
                  </a:lnTo>
                  <a:lnTo>
                    <a:pt x="730544" y="2503072"/>
                  </a:lnTo>
                  <a:lnTo>
                    <a:pt x="706321" y="2452308"/>
                  </a:lnTo>
                  <a:lnTo>
                    <a:pt x="674798" y="2399453"/>
                  </a:lnTo>
                  <a:lnTo>
                    <a:pt x="640122" y="2354730"/>
                  </a:lnTo>
                  <a:lnTo>
                    <a:pt x="599141" y="2310007"/>
                  </a:lnTo>
                  <a:lnTo>
                    <a:pt x="558160" y="2273416"/>
                  </a:lnTo>
                  <a:lnTo>
                    <a:pt x="510875" y="2236824"/>
                  </a:lnTo>
                  <a:lnTo>
                    <a:pt x="460437" y="2204298"/>
                  </a:lnTo>
                  <a:lnTo>
                    <a:pt x="406847" y="2179904"/>
                  </a:lnTo>
                  <a:lnTo>
                    <a:pt x="350104" y="2159575"/>
                  </a:lnTo>
                  <a:lnTo>
                    <a:pt x="293361" y="2143312"/>
                  </a:lnTo>
                  <a:lnTo>
                    <a:pt x="233466" y="2135181"/>
                  </a:lnTo>
                  <a:lnTo>
                    <a:pt x="170419" y="2131115"/>
                  </a:lnTo>
                  <a:lnTo>
                    <a:pt x="126286" y="2135181"/>
                  </a:lnTo>
                  <a:lnTo>
                    <a:pt x="82153" y="2139247"/>
                  </a:lnTo>
                  <a:lnTo>
                    <a:pt x="41172" y="2147378"/>
                  </a:lnTo>
                  <a:lnTo>
                    <a:pt x="0" y="2154964"/>
                  </a:lnTo>
                  <a:close/>
                </a:path>
              </a:pathLst>
            </a:cu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7" name="Rectangle 946"/>
            <p:cNvSpPr/>
            <p:nvPr/>
          </p:nvSpPr>
          <p:spPr bwMode="auto">
            <a:xfrm>
              <a:off x="16741305" y="1983342"/>
              <a:ext cx="1945529"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8" name="Freeform 113"/>
            <p:cNvSpPr>
              <a:spLocks noEditPoints="1"/>
            </p:cNvSpPr>
            <p:nvPr/>
          </p:nvSpPr>
          <p:spPr bwMode="auto">
            <a:xfrm>
              <a:off x="19044854" y="2504939"/>
              <a:ext cx="3067333" cy="2425701"/>
            </a:xfrm>
            <a:custGeom>
              <a:avLst/>
              <a:gdLst>
                <a:gd name="T0" fmla="*/ 0 w 2492"/>
                <a:gd name="T1" fmla="*/ 0 h 1528"/>
                <a:gd name="T2" fmla="*/ 0 w 2492"/>
                <a:gd name="T3" fmla="*/ 1528 h 1528"/>
                <a:gd name="T4" fmla="*/ 2492 w 2492"/>
                <a:gd name="T5" fmla="*/ 1528 h 1528"/>
                <a:gd name="T6" fmla="*/ 2492 w 2492"/>
                <a:gd name="T7" fmla="*/ 0 h 1528"/>
                <a:gd name="T8" fmla="*/ 0 w 2492"/>
                <a:gd name="T9" fmla="*/ 0 h 1528"/>
                <a:gd name="T10" fmla="*/ 594 w 2492"/>
                <a:gd name="T11" fmla="*/ 1198 h 1528"/>
                <a:gd name="T12" fmla="*/ 244 w 2492"/>
                <a:gd name="T13" fmla="*/ 1198 h 1528"/>
                <a:gd name="T14" fmla="*/ 244 w 2492"/>
                <a:gd name="T15" fmla="*/ 870 h 1528"/>
                <a:gd name="T16" fmla="*/ 594 w 2492"/>
                <a:gd name="T17" fmla="*/ 870 h 1528"/>
                <a:gd name="T18" fmla="*/ 594 w 2492"/>
                <a:gd name="T19" fmla="*/ 1198 h 1528"/>
                <a:gd name="T20" fmla="*/ 594 w 2492"/>
                <a:gd name="T21" fmla="*/ 642 h 1528"/>
                <a:gd name="T22" fmla="*/ 244 w 2492"/>
                <a:gd name="T23" fmla="*/ 642 h 1528"/>
                <a:gd name="T24" fmla="*/ 244 w 2492"/>
                <a:gd name="T25" fmla="*/ 314 h 1528"/>
                <a:gd name="T26" fmla="*/ 594 w 2492"/>
                <a:gd name="T27" fmla="*/ 314 h 1528"/>
                <a:gd name="T28" fmla="*/ 594 w 2492"/>
                <a:gd name="T29" fmla="*/ 642 h 1528"/>
                <a:gd name="T30" fmla="*/ 1156 w 2492"/>
                <a:gd name="T31" fmla="*/ 1198 h 1528"/>
                <a:gd name="T32" fmla="*/ 806 w 2492"/>
                <a:gd name="T33" fmla="*/ 1198 h 1528"/>
                <a:gd name="T34" fmla="*/ 806 w 2492"/>
                <a:gd name="T35" fmla="*/ 870 h 1528"/>
                <a:gd name="T36" fmla="*/ 1156 w 2492"/>
                <a:gd name="T37" fmla="*/ 870 h 1528"/>
                <a:gd name="T38" fmla="*/ 1156 w 2492"/>
                <a:gd name="T39" fmla="*/ 1198 h 1528"/>
                <a:gd name="T40" fmla="*/ 1156 w 2492"/>
                <a:gd name="T41" fmla="*/ 642 h 1528"/>
                <a:gd name="T42" fmla="*/ 806 w 2492"/>
                <a:gd name="T43" fmla="*/ 642 h 1528"/>
                <a:gd name="T44" fmla="*/ 806 w 2492"/>
                <a:gd name="T45" fmla="*/ 314 h 1528"/>
                <a:gd name="T46" fmla="*/ 1156 w 2492"/>
                <a:gd name="T47" fmla="*/ 314 h 1528"/>
                <a:gd name="T48" fmla="*/ 1156 w 2492"/>
                <a:gd name="T49" fmla="*/ 642 h 1528"/>
                <a:gd name="T50" fmla="*/ 1706 w 2492"/>
                <a:gd name="T51" fmla="*/ 1198 h 1528"/>
                <a:gd name="T52" fmla="*/ 1356 w 2492"/>
                <a:gd name="T53" fmla="*/ 1198 h 1528"/>
                <a:gd name="T54" fmla="*/ 1356 w 2492"/>
                <a:gd name="T55" fmla="*/ 870 h 1528"/>
                <a:gd name="T56" fmla="*/ 1706 w 2492"/>
                <a:gd name="T57" fmla="*/ 870 h 1528"/>
                <a:gd name="T58" fmla="*/ 1706 w 2492"/>
                <a:gd name="T59" fmla="*/ 1198 h 1528"/>
                <a:gd name="T60" fmla="*/ 1706 w 2492"/>
                <a:gd name="T61" fmla="*/ 642 h 1528"/>
                <a:gd name="T62" fmla="*/ 1356 w 2492"/>
                <a:gd name="T63" fmla="*/ 642 h 1528"/>
                <a:gd name="T64" fmla="*/ 1356 w 2492"/>
                <a:gd name="T65" fmla="*/ 314 h 1528"/>
                <a:gd name="T66" fmla="*/ 1706 w 2492"/>
                <a:gd name="T67" fmla="*/ 314 h 1528"/>
                <a:gd name="T68" fmla="*/ 1706 w 2492"/>
                <a:gd name="T69" fmla="*/ 642 h 1528"/>
                <a:gd name="T70" fmla="*/ 2274 w 2492"/>
                <a:gd name="T71" fmla="*/ 1198 h 1528"/>
                <a:gd name="T72" fmla="*/ 1924 w 2492"/>
                <a:gd name="T73" fmla="*/ 1198 h 1528"/>
                <a:gd name="T74" fmla="*/ 1924 w 2492"/>
                <a:gd name="T75" fmla="*/ 870 h 1528"/>
                <a:gd name="T76" fmla="*/ 2274 w 2492"/>
                <a:gd name="T77" fmla="*/ 870 h 1528"/>
                <a:gd name="T78" fmla="*/ 2274 w 2492"/>
                <a:gd name="T79" fmla="*/ 1198 h 1528"/>
                <a:gd name="T80" fmla="*/ 2274 w 2492"/>
                <a:gd name="T81" fmla="*/ 642 h 1528"/>
                <a:gd name="T82" fmla="*/ 1924 w 2492"/>
                <a:gd name="T83" fmla="*/ 642 h 1528"/>
                <a:gd name="T84" fmla="*/ 1924 w 2492"/>
                <a:gd name="T85" fmla="*/ 314 h 1528"/>
                <a:gd name="T86" fmla="*/ 2274 w 2492"/>
                <a:gd name="T87" fmla="*/ 314 h 1528"/>
                <a:gd name="T88" fmla="*/ 2274 w 2492"/>
                <a:gd name="T89" fmla="*/ 64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2" h="1528">
                  <a:moveTo>
                    <a:pt x="0" y="0"/>
                  </a:moveTo>
                  <a:lnTo>
                    <a:pt x="0" y="1528"/>
                  </a:lnTo>
                  <a:lnTo>
                    <a:pt x="2492" y="1528"/>
                  </a:lnTo>
                  <a:lnTo>
                    <a:pt x="2492" y="0"/>
                  </a:lnTo>
                  <a:lnTo>
                    <a:pt x="0" y="0"/>
                  </a:lnTo>
                  <a:close/>
                  <a:moveTo>
                    <a:pt x="594" y="1198"/>
                  </a:moveTo>
                  <a:lnTo>
                    <a:pt x="244" y="1198"/>
                  </a:lnTo>
                  <a:lnTo>
                    <a:pt x="244" y="870"/>
                  </a:lnTo>
                  <a:lnTo>
                    <a:pt x="594" y="870"/>
                  </a:lnTo>
                  <a:lnTo>
                    <a:pt x="594" y="1198"/>
                  </a:lnTo>
                  <a:close/>
                  <a:moveTo>
                    <a:pt x="594" y="642"/>
                  </a:moveTo>
                  <a:lnTo>
                    <a:pt x="244" y="642"/>
                  </a:lnTo>
                  <a:lnTo>
                    <a:pt x="244" y="314"/>
                  </a:lnTo>
                  <a:lnTo>
                    <a:pt x="594" y="314"/>
                  </a:lnTo>
                  <a:lnTo>
                    <a:pt x="594" y="642"/>
                  </a:lnTo>
                  <a:close/>
                  <a:moveTo>
                    <a:pt x="1156" y="1198"/>
                  </a:moveTo>
                  <a:lnTo>
                    <a:pt x="806" y="1198"/>
                  </a:lnTo>
                  <a:lnTo>
                    <a:pt x="806" y="870"/>
                  </a:lnTo>
                  <a:lnTo>
                    <a:pt x="1156" y="870"/>
                  </a:lnTo>
                  <a:lnTo>
                    <a:pt x="1156" y="1198"/>
                  </a:lnTo>
                  <a:close/>
                  <a:moveTo>
                    <a:pt x="1156" y="642"/>
                  </a:moveTo>
                  <a:lnTo>
                    <a:pt x="806" y="642"/>
                  </a:lnTo>
                  <a:lnTo>
                    <a:pt x="806" y="314"/>
                  </a:lnTo>
                  <a:lnTo>
                    <a:pt x="1156" y="314"/>
                  </a:lnTo>
                  <a:lnTo>
                    <a:pt x="1156" y="642"/>
                  </a:lnTo>
                  <a:close/>
                  <a:moveTo>
                    <a:pt x="1706" y="1198"/>
                  </a:moveTo>
                  <a:lnTo>
                    <a:pt x="1356" y="1198"/>
                  </a:lnTo>
                  <a:lnTo>
                    <a:pt x="1356" y="870"/>
                  </a:lnTo>
                  <a:lnTo>
                    <a:pt x="1706" y="870"/>
                  </a:lnTo>
                  <a:lnTo>
                    <a:pt x="1706" y="1198"/>
                  </a:lnTo>
                  <a:close/>
                  <a:moveTo>
                    <a:pt x="1706" y="642"/>
                  </a:moveTo>
                  <a:lnTo>
                    <a:pt x="1356" y="642"/>
                  </a:lnTo>
                  <a:lnTo>
                    <a:pt x="1356" y="314"/>
                  </a:lnTo>
                  <a:lnTo>
                    <a:pt x="1706" y="314"/>
                  </a:lnTo>
                  <a:lnTo>
                    <a:pt x="1706" y="642"/>
                  </a:lnTo>
                  <a:close/>
                  <a:moveTo>
                    <a:pt x="2274" y="1198"/>
                  </a:moveTo>
                  <a:lnTo>
                    <a:pt x="1924" y="1198"/>
                  </a:lnTo>
                  <a:lnTo>
                    <a:pt x="1924" y="870"/>
                  </a:lnTo>
                  <a:lnTo>
                    <a:pt x="2274" y="870"/>
                  </a:lnTo>
                  <a:lnTo>
                    <a:pt x="2274" y="1198"/>
                  </a:lnTo>
                  <a:close/>
                  <a:moveTo>
                    <a:pt x="2274" y="642"/>
                  </a:moveTo>
                  <a:lnTo>
                    <a:pt x="1924" y="642"/>
                  </a:lnTo>
                  <a:lnTo>
                    <a:pt x="1924" y="314"/>
                  </a:lnTo>
                  <a:lnTo>
                    <a:pt x="2274" y="314"/>
                  </a:lnTo>
                  <a:lnTo>
                    <a:pt x="2274" y="6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14"/>
            <p:cNvSpPr>
              <a:spLocks/>
            </p:cNvSpPr>
            <p:nvPr/>
          </p:nvSpPr>
          <p:spPr bwMode="auto">
            <a:xfrm>
              <a:off x="14786043" y="4248009"/>
              <a:ext cx="1799529" cy="685801"/>
            </a:xfrm>
            <a:custGeom>
              <a:avLst/>
              <a:gdLst>
                <a:gd name="T0" fmla="*/ 730 w 1462"/>
                <a:gd name="T1" fmla="*/ 432 h 432"/>
                <a:gd name="T2" fmla="*/ 730 w 1462"/>
                <a:gd name="T3" fmla="*/ 432 h 432"/>
                <a:gd name="T4" fmla="*/ 1422 w 1462"/>
                <a:gd name="T5" fmla="*/ 432 h 432"/>
                <a:gd name="T6" fmla="*/ 1438 w 1462"/>
                <a:gd name="T7" fmla="*/ 402 h 432"/>
                <a:gd name="T8" fmla="*/ 1452 w 1462"/>
                <a:gd name="T9" fmla="*/ 370 h 432"/>
                <a:gd name="T10" fmla="*/ 1458 w 1462"/>
                <a:gd name="T11" fmla="*/ 336 h 432"/>
                <a:gd name="T12" fmla="*/ 1462 w 1462"/>
                <a:gd name="T13" fmla="*/ 300 h 432"/>
                <a:gd name="T14" fmla="*/ 1460 w 1462"/>
                <a:gd name="T15" fmla="*/ 270 h 432"/>
                <a:gd name="T16" fmla="*/ 1444 w 1462"/>
                <a:gd name="T17" fmla="*/ 212 h 432"/>
                <a:gd name="T18" fmla="*/ 1416 w 1462"/>
                <a:gd name="T19" fmla="*/ 158 h 432"/>
                <a:gd name="T20" fmla="*/ 1374 w 1462"/>
                <a:gd name="T21" fmla="*/ 110 h 432"/>
                <a:gd name="T22" fmla="*/ 1322 w 1462"/>
                <a:gd name="T23" fmla="*/ 70 h 432"/>
                <a:gd name="T24" fmla="*/ 1260 w 1462"/>
                <a:gd name="T25" fmla="*/ 36 h 432"/>
                <a:gd name="T26" fmla="*/ 1190 w 1462"/>
                <a:gd name="T27" fmla="*/ 14 h 432"/>
                <a:gd name="T28" fmla="*/ 1116 w 1462"/>
                <a:gd name="T29" fmla="*/ 2 h 432"/>
                <a:gd name="T30" fmla="*/ 1076 w 1462"/>
                <a:gd name="T31" fmla="*/ 0 h 432"/>
                <a:gd name="T32" fmla="*/ 1020 w 1462"/>
                <a:gd name="T33" fmla="*/ 4 h 432"/>
                <a:gd name="T34" fmla="*/ 966 w 1462"/>
                <a:gd name="T35" fmla="*/ 12 h 432"/>
                <a:gd name="T36" fmla="*/ 916 w 1462"/>
                <a:gd name="T37" fmla="*/ 28 h 432"/>
                <a:gd name="T38" fmla="*/ 870 w 1462"/>
                <a:gd name="T39" fmla="*/ 48 h 432"/>
                <a:gd name="T40" fmla="*/ 828 w 1462"/>
                <a:gd name="T41" fmla="*/ 72 h 432"/>
                <a:gd name="T42" fmla="*/ 790 w 1462"/>
                <a:gd name="T43" fmla="*/ 100 h 432"/>
                <a:gd name="T44" fmla="*/ 756 w 1462"/>
                <a:gd name="T45" fmla="*/ 132 h 432"/>
                <a:gd name="T46" fmla="*/ 730 w 1462"/>
                <a:gd name="T47" fmla="*/ 168 h 432"/>
                <a:gd name="T48" fmla="*/ 718 w 1462"/>
                <a:gd name="T49" fmla="*/ 150 h 432"/>
                <a:gd name="T50" fmla="*/ 688 w 1462"/>
                <a:gd name="T51" fmla="*/ 116 h 432"/>
                <a:gd name="T52" fmla="*/ 652 w 1462"/>
                <a:gd name="T53" fmla="*/ 86 h 432"/>
                <a:gd name="T54" fmla="*/ 612 w 1462"/>
                <a:gd name="T55" fmla="*/ 58 h 432"/>
                <a:gd name="T56" fmla="*/ 568 w 1462"/>
                <a:gd name="T57" fmla="*/ 36 h 432"/>
                <a:gd name="T58" fmla="*/ 520 w 1462"/>
                <a:gd name="T59" fmla="*/ 20 h 432"/>
                <a:gd name="T60" fmla="*/ 468 w 1462"/>
                <a:gd name="T61" fmla="*/ 8 h 432"/>
                <a:gd name="T62" fmla="*/ 412 w 1462"/>
                <a:gd name="T63" fmla="*/ 2 h 432"/>
                <a:gd name="T64" fmla="*/ 384 w 1462"/>
                <a:gd name="T65" fmla="*/ 0 h 432"/>
                <a:gd name="T66" fmla="*/ 306 w 1462"/>
                <a:gd name="T67" fmla="*/ 6 h 432"/>
                <a:gd name="T68" fmla="*/ 234 w 1462"/>
                <a:gd name="T69" fmla="*/ 24 h 432"/>
                <a:gd name="T70" fmla="*/ 168 w 1462"/>
                <a:gd name="T71" fmla="*/ 52 h 432"/>
                <a:gd name="T72" fmla="*/ 112 w 1462"/>
                <a:gd name="T73" fmla="*/ 88 h 432"/>
                <a:gd name="T74" fmla="*/ 64 w 1462"/>
                <a:gd name="T75" fmla="*/ 132 h 432"/>
                <a:gd name="T76" fmla="*/ 30 w 1462"/>
                <a:gd name="T77" fmla="*/ 184 h 432"/>
                <a:gd name="T78" fmla="*/ 6 w 1462"/>
                <a:gd name="T79" fmla="*/ 240 h 432"/>
                <a:gd name="T80" fmla="*/ 0 w 1462"/>
                <a:gd name="T81" fmla="*/ 300 h 432"/>
                <a:gd name="T82" fmla="*/ 0 w 1462"/>
                <a:gd name="T83" fmla="*/ 318 h 432"/>
                <a:gd name="T84" fmla="*/ 6 w 1462"/>
                <a:gd name="T85" fmla="*/ 352 h 432"/>
                <a:gd name="T86" fmla="*/ 16 w 1462"/>
                <a:gd name="T87" fmla="*/ 386 h 432"/>
                <a:gd name="T88" fmla="*/ 40 w 1462"/>
                <a:gd name="T89"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2" h="432">
                  <a:moveTo>
                    <a:pt x="730" y="432"/>
                  </a:moveTo>
                  <a:lnTo>
                    <a:pt x="730" y="432"/>
                  </a:lnTo>
                  <a:lnTo>
                    <a:pt x="730" y="432"/>
                  </a:lnTo>
                  <a:lnTo>
                    <a:pt x="730" y="432"/>
                  </a:lnTo>
                  <a:lnTo>
                    <a:pt x="732" y="432"/>
                  </a:lnTo>
                  <a:lnTo>
                    <a:pt x="1422" y="432"/>
                  </a:lnTo>
                  <a:lnTo>
                    <a:pt x="1422" y="432"/>
                  </a:lnTo>
                  <a:lnTo>
                    <a:pt x="1438" y="402"/>
                  </a:lnTo>
                  <a:lnTo>
                    <a:pt x="1446" y="386"/>
                  </a:lnTo>
                  <a:lnTo>
                    <a:pt x="1452" y="370"/>
                  </a:lnTo>
                  <a:lnTo>
                    <a:pt x="1456" y="352"/>
                  </a:lnTo>
                  <a:lnTo>
                    <a:pt x="1458" y="336"/>
                  </a:lnTo>
                  <a:lnTo>
                    <a:pt x="1460" y="318"/>
                  </a:lnTo>
                  <a:lnTo>
                    <a:pt x="1462" y="300"/>
                  </a:lnTo>
                  <a:lnTo>
                    <a:pt x="1462" y="300"/>
                  </a:lnTo>
                  <a:lnTo>
                    <a:pt x="1460" y="270"/>
                  </a:lnTo>
                  <a:lnTo>
                    <a:pt x="1454" y="240"/>
                  </a:lnTo>
                  <a:lnTo>
                    <a:pt x="1444" y="212"/>
                  </a:lnTo>
                  <a:lnTo>
                    <a:pt x="1432" y="184"/>
                  </a:lnTo>
                  <a:lnTo>
                    <a:pt x="1416" y="158"/>
                  </a:lnTo>
                  <a:lnTo>
                    <a:pt x="1396" y="132"/>
                  </a:lnTo>
                  <a:lnTo>
                    <a:pt x="1374" y="110"/>
                  </a:lnTo>
                  <a:lnTo>
                    <a:pt x="1348" y="88"/>
                  </a:lnTo>
                  <a:lnTo>
                    <a:pt x="1322" y="70"/>
                  </a:lnTo>
                  <a:lnTo>
                    <a:pt x="1292" y="52"/>
                  </a:lnTo>
                  <a:lnTo>
                    <a:pt x="1260" y="36"/>
                  </a:lnTo>
                  <a:lnTo>
                    <a:pt x="1226" y="24"/>
                  </a:lnTo>
                  <a:lnTo>
                    <a:pt x="1190" y="14"/>
                  </a:lnTo>
                  <a:lnTo>
                    <a:pt x="1154" y="6"/>
                  </a:lnTo>
                  <a:lnTo>
                    <a:pt x="1116" y="2"/>
                  </a:lnTo>
                  <a:lnTo>
                    <a:pt x="1076" y="0"/>
                  </a:lnTo>
                  <a:lnTo>
                    <a:pt x="1076" y="0"/>
                  </a:lnTo>
                  <a:lnTo>
                    <a:pt x="1048" y="2"/>
                  </a:lnTo>
                  <a:lnTo>
                    <a:pt x="1020" y="4"/>
                  </a:lnTo>
                  <a:lnTo>
                    <a:pt x="994" y="8"/>
                  </a:lnTo>
                  <a:lnTo>
                    <a:pt x="966" y="12"/>
                  </a:lnTo>
                  <a:lnTo>
                    <a:pt x="942" y="20"/>
                  </a:lnTo>
                  <a:lnTo>
                    <a:pt x="916" y="28"/>
                  </a:lnTo>
                  <a:lnTo>
                    <a:pt x="892" y="36"/>
                  </a:lnTo>
                  <a:lnTo>
                    <a:pt x="870" y="48"/>
                  </a:lnTo>
                  <a:lnTo>
                    <a:pt x="848" y="58"/>
                  </a:lnTo>
                  <a:lnTo>
                    <a:pt x="828" y="72"/>
                  </a:lnTo>
                  <a:lnTo>
                    <a:pt x="808" y="86"/>
                  </a:lnTo>
                  <a:lnTo>
                    <a:pt x="790" y="100"/>
                  </a:lnTo>
                  <a:lnTo>
                    <a:pt x="772" y="116"/>
                  </a:lnTo>
                  <a:lnTo>
                    <a:pt x="756" y="132"/>
                  </a:lnTo>
                  <a:lnTo>
                    <a:pt x="742" y="150"/>
                  </a:lnTo>
                  <a:lnTo>
                    <a:pt x="730" y="168"/>
                  </a:lnTo>
                  <a:lnTo>
                    <a:pt x="730" y="168"/>
                  </a:lnTo>
                  <a:lnTo>
                    <a:pt x="718" y="150"/>
                  </a:lnTo>
                  <a:lnTo>
                    <a:pt x="704" y="132"/>
                  </a:lnTo>
                  <a:lnTo>
                    <a:pt x="688" y="116"/>
                  </a:lnTo>
                  <a:lnTo>
                    <a:pt x="672" y="100"/>
                  </a:lnTo>
                  <a:lnTo>
                    <a:pt x="652" y="86"/>
                  </a:lnTo>
                  <a:lnTo>
                    <a:pt x="634" y="72"/>
                  </a:lnTo>
                  <a:lnTo>
                    <a:pt x="612" y="58"/>
                  </a:lnTo>
                  <a:lnTo>
                    <a:pt x="590" y="48"/>
                  </a:lnTo>
                  <a:lnTo>
                    <a:pt x="568" y="36"/>
                  </a:lnTo>
                  <a:lnTo>
                    <a:pt x="544" y="28"/>
                  </a:lnTo>
                  <a:lnTo>
                    <a:pt x="520" y="20"/>
                  </a:lnTo>
                  <a:lnTo>
                    <a:pt x="494" y="12"/>
                  </a:lnTo>
                  <a:lnTo>
                    <a:pt x="468" y="8"/>
                  </a:lnTo>
                  <a:lnTo>
                    <a:pt x="440" y="4"/>
                  </a:lnTo>
                  <a:lnTo>
                    <a:pt x="412" y="2"/>
                  </a:lnTo>
                  <a:lnTo>
                    <a:pt x="384" y="0"/>
                  </a:lnTo>
                  <a:lnTo>
                    <a:pt x="384" y="0"/>
                  </a:lnTo>
                  <a:lnTo>
                    <a:pt x="346" y="2"/>
                  </a:lnTo>
                  <a:lnTo>
                    <a:pt x="306" y="6"/>
                  </a:lnTo>
                  <a:lnTo>
                    <a:pt x="270" y="14"/>
                  </a:lnTo>
                  <a:lnTo>
                    <a:pt x="234" y="24"/>
                  </a:lnTo>
                  <a:lnTo>
                    <a:pt x="200" y="36"/>
                  </a:lnTo>
                  <a:lnTo>
                    <a:pt x="168" y="52"/>
                  </a:lnTo>
                  <a:lnTo>
                    <a:pt x="140" y="70"/>
                  </a:lnTo>
                  <a:lnTo>
                    <a:pt x="112" y="88"/>
                  </a:lnTo>
                  <a:lnTo>
                    <a:pt x="88" y="110"/>
                  </a:lnTo>
                  <a:lnTo>
                    <a:pt x="64" y="132"/>
                  </a:lnTo>
                  <a:lnTo>
                    <a:pt x="46" y="158"/>
                  </a:lnTo>
                  <a:lnTo>
                    <a:pt x="30" y="184"/>
                  </a:lnTo>
                  <a:lnTo>
                    <a:pt x="16" y="212"/>
                  </a:lnTo>
                  <a:lnTo>
                    <a:pt x="6" y="240"/>
                  </a:lnTo>
                  <a:lnTo>
                    <a:pt x="2" y="270"/>
                  </a:lnTo>
                  <a:lnTo>
                    <a:pt x="0" y="300"/>
                  </a:lnTo>
                  <a:lnTo>
                    <a:pt x="0" y="300"/>
                  </a:lnTo>
                  <a:lnTo>
                    <a:pt x="0" y="318"/>
                  </a:lnTo>
                  <a:lnTo>
                    <a:pt x="2" y="336"/>
                  </a:lnTo>
                  <a:lnTo>
                    <a:pt x="6" y="352"/>
                  </a:lnTo>
                  <a:lnTo>
                    <a:pt x="10" y="370"/>
                  </a:lnTo>
                  <a:lnTo>
                    <a:pt x="16" y="386"/>
                  </a:lnTo>
                  <a:lnTo>
                    <a:pt x="22" y="402"/>
                  </a:lnTo>
                  <a:lnTo>
                    <a:pt x="40" y="432"/>
                  </a:lnTo>
                  <a:lnTo>
                    <a:pt x="730" y="432"/>
                  </a:lnTo>
                  <a:close/>
                </a:path>
              </a:pathLst>
            </a:custGeom>
            <a:solidFill>
              <a:srgbClr val="2B8948"/>
            </a:soli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950" name="Freeform 115"/>
            <p:cNvSpPr>
              <a:spLocks noEditPoints="1"/>
            </p:cNvSpPr>
            <p:nvPr/>
          </p:nvSpPr>
          <p:spPr bwMode="auto">
            <a:xfrm>
              <a:off x="15768277" y="1650860"/>
              <a:ext cx="3067333" cy="3279771"/>
            </a:xfrm>
            <a:custGeom>
              <a:avLst/>
              <a:gdLst>
                <a:gd name="T0" fmla="*/ 0 w 2492"/>
                <a:gd name="T1" fmla="*/ 1610 h 2066"/>
                <a:gd name="T2" fmla="*/ 28 w 2492"/>
                <a:gd name="T3" fmla="*/ 1600 h 2066"/>
                <a:gd name="T4" fmla="*/ 86 w 2492"/>
                <a:gd name="T5" fmla="*/ 1580 h 2066"/>
                <a:gd name="T6" fmla="*/ 146 w 2492"/>
                <a:gd name="T7" fmla="*/ 1566 h 2066"/>
                <a:gd name="T8" fmla="*/ 210 w 2492"/>
                <a:gd name="T9" fmla="*/ 1558 h 2066"/>
                <a:gd name="T10" fmla="*/ 244 w 2492"/>
                <a:gd name="T11" fmla="*/ 1430 h 2066"/>
                <a:gd name="T12" fmla="*/ 594 w 2492"/>
                <a:gd name="T13" fmla="*/ 1630 h 2066"/>
                <a:gd name="T14" fmla="*/ 616 w 2492"/>
                <a:gd name="T15" fmla="*/ 1642 h 2066"/>
                <a:gd name="T16" fmla="*/ 658 w 2492"/>
                <a:gd name="T17" fmla="*/ 1670 h 2066"/>
                <a:gd name="T18" fmla="*/ 696 w 2492"/>
                <a:gd name="T19" fmla="*/ 1702 h 2066"/>
                <a:gd name="T20" fmla="*/ 728 w 2492"/>
                <a:gd name="T21" fmla="*/ 1736 h 2066"/>
                <a:gd name="T22" fmla="*/ 754 w 2492"/>
                <a:gd name="T23" fmla="*/ 1772 h 2066"/>
                <a:gd name="T24" fmla="*/ 774 w 2492"/>
                <a:gd name="T25" fmla="*/ 1812 h 2066"/>
                <a:gd name="T26" fmla="*/ 788 w 2492"/>
                <a:gd name="T27" fmla="*/ 1852 h 2066"/>
                <a:gd name="T28" fmla="*/ 796 w 2492"/>
                <a:gd name="T29" fmla="*/ 1894 h 2066"/>
                <a:gd name="T30" fmla="*/ 796 w 2492"/>
                <a:gd name="T31" fmla="*/ 1916 h 2066"/>
                <a:gd name="T32" fmla="*/ 794 w 2492"/>
                <a:gd name="T33" fmla="*/ 1956 h 2066"/>
                <a:gd name="T34" fmla="*/ 784 w 2492"/>
                <a:gd name="T35" fmla="*/ 1994 h 2066"/>
                <a:gd name="T36" fmla="*/ 770 w 2492"/>
                <a:gd name="T37" fmla="*/ 2030 h 2066"/>
                <a:gd name="T38" fmla="*/ 750 w 2492"/>
                <a:gd name="T39" fmla="*/ 2066 h 2066"/>
                <a:gd name="T40" fmla="*/ 1924 w 2492"/>
                <a:gd name="T41" fmla="*/ 1430 h 2066"/>
                <a:gd name="T42" fmla="*/ 2274 w 2492"/>
                <a:gd name="T43" fmla="*/ 2066 h 2066"/>
                <a:gd name="T44" fmla="*/ 2492 w 2492"/>
                <a:gd name="T45" fmla="*/ 0 h 2066"/>
                <a:gd name="T46" fmla="*/ 594 w 2492"/>
                <a:gd name="T47" fmla="*/ 1180 h 2066"/>
                <a:gd name="T48" fmla="*/ 244 w 2492"/>
                <a:gd name="T49" fmla="*/ 852 h 2066"/>
                <a:gd name="T50" fmla="*/ 594 w 2492"/>
                <a:gd name="T51" fmla="*/ 1180 h 2066"/>
                <a:gd name="T52" fmla="*/ 244 w 2492"/>
                <a:gd name="T53" fmla="*/ 600 h 2066"/>
                <a:gd name="T54" fmla="*/ 594 w 2492"/>
                <a:gd name="T55" fmla="*/ 272 h 2066"/>
                <a:gd name="T56" fmla="*/ 1156 w 2492"/>
                <a:gd name="T57" fmla="*/ 1758 h 2066"/>
                <a:gd name="T58" fmla="*/ 806 w 2492"/>
                <a:gd name="T59" fmla="*/ 1430 h 2066"/>
                <a:gd name="T60" fmla="*/ 1156 w 2492"/>
                <a:gd name="T61" fmla="*/ 1758 h 2066"/>
                <a:gd name="T62" fmla="*/ 806 w 2492"/>
                <a:gd name="T63" fmla="*/ 1180 h 2066"/>
                <a:gd name="T64" fmla="*/ 1156 w 2492"/>
                <a:gd name="T65" fmla="*/ 852 h 2066"/>
                <a:gd name="T66" fmla="*/ 1156 w 2492"/>
                <a:gd name="T67" fmla="*/ 600 h 2066"/>
                <a:gd name="T68" fmla="*/ 806 w 2492"/>
                <a:gd name="T69" fmla="*/ 272 h 2066"/>
                <a:gd name="T70" fmla="*/ 1156 w 2492"/>
                <a:gd name="T71" fmla="*/ 600 h 2066"/>
                <a:gd name="T72" fmla="*/ 1356 w 2492"/>
                <a:gd name="T73" fmla="*/ 1758 h 2066"/>
                <a:gd name="T74" fmla="*/ 1706 w 2492"/>
                <a:gd name="T75" fmla="*/ 1430 h 2066"/>
                <a:gd name="T76" fmla="*/ 1706 w 2492"/>
                <a:gd name="T77" fmla="*/ 1180 h 2066"/>
                <a:gd name="T78" fmla="*/ 1356 w 2492"/>
                <a:gd name="T79" fmla="*/ 852 h 2066"/>
                <a:gd name="T80" fmla="*/ 1706 w 2492"/>
                <a:gd name="T81" fmla="*/ 1180 h 2066"/>
                <a:gd name="T82" fmla="*/ 1356 w 2492"/>
                <a:gd name="T83" fmla="*/ 600 h 2066"/>
                <a:gd name="T84" fmla="*/ 1706 w 2492"/>
                <a:gd name="T85" fmla="*/ 272 h 2066"/>
                <a:gd name="T86" fmla="*/ 2274 w 2492"/>
                <a:gd name="T87" fmla="*/ 1180 h 2066"/>
                <a:gd name="T88" fmla="*/ 1924 w 2492"/>
                <a:gd name="T89" fmla="*/ 852 h 2066"/>
                <a:gd name="T90" fmla="*/ 2274 w 2492"/>
                <a:gd name="T91" fmla="*/ 1180 h 2066"/>
                <a:gd name="T92" fmla="*/ 1924 w 2492"/>
                <a:gd name="T93" fmla="*/ 600 h 2066"/>
                <a:gd name="T94" fmla="*/ 2274 w 2492"/>
                <a:gd name="T95" fmla="*/ 2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066">
                  <a:moveTo>
                    <a:pt x="0" y="0"/>
                  </a:moveTo>
                  <a:lnTo>
                    <a:pt x="0" y="1610"/>
                  </a:lnTo>
                  <a:lnTo>
                    <a:pt x="0" y="1610"/>
                  </a:lnTo>
                  <a:lnTo>
                    <a:pt x="28" y="1600"/>
                  </a:lnTo>
                  <a:lnTo>
                    <a:pt x="56" y="1590"/>
                  </a:lnTo>
                  <a:lnTo>
                    <a:pt x="86" y="1580"/>
                  </a:lnTo>
                  <a:lnTo>
                    <a:pt x="116" y="1574"/>
                  </a:lnTo>
                  <a:lnTo>
                    <a:pt x="146" y="1566"/>
                  </a:lnTo>
                  <a:lnTo>
                    <a:pt x="178" y="1562"/>
                  </a:lnTo>
                  <a:lnTo>
                    <a:pt x="210" y="1558"/>
                  </a:lnTo>
                  <a:lnTo>
                    <a:pt x="244" y="1556"/>
                  </a:lnTo>
                  <a:lnTo>
                    <a:pt x="244" y="1430"/>
                  </a:lnTo>
                  <a:lnTo>
                    <a:pt x="594" y="1430"/>
                  </a:lnTo>
                  <a:lnTo>
                    <a:pt x="594" y="1630"/>
                  </a:lnTo>
                  <a:lnTo>
                    <a:pt x="594" y="1630"/>
                  </a:lnTo>
                  <a:lnTo>
                    <a:pt x="616" y="1642"/>
                  </a:lnTo>
                  <a:lnTo>
                    <a:pt x="638" y="1656"/>
                  </a:lnTo>
                  <a:lnTo>
                    <a:pt x="658" y="1670"/>
                  </a:lnTo>
                  <a:lnTo>
                    <a:pt x="678" y="1686"/>
                  </a:lnTo>
                  <a:lnTo>
                    <a:pt x="696" y="1702"/>
                  </a:lnTo>
                  <a:lnTo>
                    <a:pt x="712" y="1718"/>
                  </a:lnTo>
                  <a:lnTo>
                    <a:pt x="728" y="1736"/>
                  </a:lnTo>
                  <a:lnTo>
                    <a:pt x="742" y="1754"/>
                  </a:lnTo>
                  <a:lnTo>
                    <a:pt x="754" y="1772"/>
                  </a:lnTo>
                  <a:lnTo>
                    <a:pt x="764" y="1792"/>
                  </a:lnTo>
                  <a:lnTo>
                    <a:pt x="774" y="1812"/>
                  </a:lnTo>
                  <a:lnTo>
                    <a:pt x="782" y="1832"/>
                  </a:lnTo>
                  <a:lnTo>
                    <a:pt x="788" y="1852"/>
                  </a:lnTo>
                  <a:lnTo>
                    <a:pt x="792" y="1872"/>
                  </a:lnTo>
                  <a:lnTo>
                    <a:pt x="796" y="1894"/>
                  </a:lnTo>
                  <a:lnTo>
                    <a:pt x="796" y="1916"/>
                  </a:lnTo>
                  <a:lnTo>
                    <a:pt x="796" y="1916"/>
                  </a:lnTo>
                  <a:lnTo>
                    <a:pt x="796" y="1936"/>
                  </a:lnTo>
                  <a:lnTo>
                    <a:pt x="794" y="1956"/>
                  </a:lnTo>
                  <a:lnTo>
                    <a:pt x="790" y="1974"/>
                  </a:lnTo>
                  <a:lnTo>
                    <a:pt x="784" y="1994"/>
                  </a:lnTo>
                  <a:lnTo>
                    <a:pt x="778" y="2012"/>
                  </a:lnTo>
                  <a:lnTo>
                    <a:pt x="770" y="2030"/>
                  </a:lnTo>
                  <a:lnTo>
                    <a:pt x="760" y="2048"/>
                  </a:lnTo>
                  <a:lnTo>
                    <a:pt x="750" y="2066"/>
                  </a:lnTo>
                  <a:lnTo>
                    <a:pt x="1924" y="2066"/>
                  </a:lnTo>
                  <a:lnTo>
                    <a:pt x="1924" y="1430"/>
                  </a:lnTo>
                  <a:lnTo>
                    <a:pt x="2274" y="1430"/>
                  </a:lnTo>
                  <a:lnTo>
                    <a:pt x="2274" y="2066"/>
                  </a:lnTo>
                  <a:lnTo>
                    <a:pt x="2492" y="2066"/>
                  </a:lnTo>
                  <a:lnTo>
                    <a:pt x="2492" y="0"/>
                  </a:lnTo>
                  <a:lnTo>
                    <a:pt x="0" y="0"/>
                  </a:lnTo>
                  <a:close/>
                  <a:moveTo>
                    <a:pt x="594" y="1180"/>
                  </a:moveTo>
                  <a:lnTo>
                    <a:pt x="244" y="1180"/>
                  </a:lnTo>
                  <a:lnTo>
                    <a:pt x="244" y="852"/>
                  </a:lnTo>
                  <a:lnTo>
                    <a:pt x="594" y="852"/>
                  </a:lnTo>
                  <a:lnTo>
                    <a:pt x="594" y="1180"/>
                  </a:lnTo>
                  <a:close/>
                  <a:moveTo>
                    <a:pt x="594" y="600"/>
                  </a:moveTo>
                  <a:lnTo>
                    <a:pt x="244" y="600"/>
                  </a:lnTo>
                  <a:lnTo>
                    <a:pt x="244" y="272"/>
                  </a:lnTo>
                  <a:lnTo>
                    <a:pt x="594" y="272"/>
                  </a:lnTo>
                  <a:lnTo>
                    <a:pt x="594" y="600"/>
                  </a:lnTo>
                  <a:close/>
                  <a:moveTo>
                    <a:pt x="1156" y="1758"/>
                  </a:moveTo>
                  <a:lnTo>
                    <a:pt x="806" y="1758"/>
                  </a:lnTo>
                  <a:lnTo>
                    <a:pt x="806" y="1430"/>
                  </a:lnTo>
                  <a:lnTo>
                    <a:pt x="1156" y="1430"/>
                  </a:lnTo>
                  <a:lnTo>
                    <a:pt x="1156" y="1758"/>
                  </a:lnTo>
                  <a:close/>
                  <a:moveTo>
                    <a:pt x="1156" y="1180"/>
                  </a:moveTo>
                  <a:lnTo>
                    <a:pt x="806" y="1180"/>
                  </a:lnTo>
                  <a:lnTo>
                    <a:pt x="806" y="852"/>
                  </a:lnTo>
                  <a:lnTo>
                    <a:pt x="1156" y="852"/>
                  </a:lnTo>
                  <a:lnTo>
                    <a:pt x="1156" y="1180"/>
                  </a:lnTo>
                  <a:close/>
                  <a:moveTo>
                    <a:pt x="1156" y="600"/>
                  </a:moveTo>
                  <a:lnTo>
                    <a:pt x="806" y="600"/>
                  </a:lnTo>
                  <a:lnTo>
                    <a:pt x="806" y="272"/>
                  </a:lnTo>
                  <a:lnTo>
                    <a:pt x="1156" y="272"/>
                  </a:lnTo>
                  <a:lnTo>
                    <a:pt x="1156" y="600"/>
                  </a:lnTo>
                  <a:close/>
                  <a:moveTo>
                    <a:pt x="1706" y="1758"/>
                  </a:moveTo>
                  <a:lnTo>
                    <a:pt x="1356" y="1758"/>
                  </a:lnTo>
                  <a:lnTo>
                    <a:pt x="1356" y="1430"/>
                  </a:lnTo>
                  <a:lnTo>
                    <a:pt x="1706" y="1430"/>
                  </a:lnTo>
                  <a:lnTo>
                    <a:pt x="1706" y="1758"/>
                  </a:lnTo>
                  <a:close/>
                  <a:moveTo>
                    <a:pt x="1706" y="1180"/>
                  </a:moveTo>
                  <a:lnTo>
                    <a:pt x="1356" y="1180"/>
                  </a:lnTo>
                  <a:lnTo>
                    <a:pt x="1356" y="852"/>
                  </a:lnTo>
                  <a:lnTo>
                    <a:pt x="1706" y="852"/>
                  </a:lnTo>
                  <a:lnTo>
                    <a:pt x="1706" y="1180"/>
                  </a:lnTo>
                  <a:close/>
                  <a:moveTo>
                    <a:pt x="1706" y="600"/>
                  </a:moveTo>
                  <a:lnTo>
                    <a:pt x="1356" y="600"/>
                  </a:lnTo>
                  <a:lnTo>
                    <a:pt x="1356" y="272"/>
                  </a:lnTo>
                  <a:lnTo>
                    <a:pt x="1706" y="272"/>
                  </a:lnTo>
                  <a:lnTo>
                    <a:pt x="1706" y="600"/>
                  </a:lnTo>
                  <a:close/>
                  <a:moveTo>
                    <a:pt x="2274" y="1180"/>
                  </a:moveTo>
                  <a:lnTo>
                    <a:pt x="1924" y="1180"/>
                  </a:lnTo>
                  <a:lnTo>
                    <a:pt x="1924" y="852"/>
                  </a:lnTo>
                  <a:lnTo>
                    <a:pt x="2274" y="852"/>
                  </a:lnTo>
                  <a:lnTo>
                    <a:pt x="2274" y="1180"/>
                  </a:lnTo>
                  <a:close/>
                  <a:moveTo>
                    <a:pt x="2274" y="600"/>
                  </a:moveTo>
                  <a:lnTo>
                    <a:pt x="1924" y="600"/>
                  </a:lnTo>
                  <a:lnTo>
                    <a:pt x="1924" y="272"/>
                  </a:lnTo>
                  <a:lnTo>
                    <a:pt x="2274" y="272"/>
                  </a:lnTo>
                  <a:lnTo>
                    <a:pt x="2274"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1" name="Group 950"/>
          <p:cNvGrpSpPr/>
          <p:nvPr/>
        </p:nvGrpSpPr>
        <p:grpSpPr>
          <a:xfrm>
            <a:off x="7772827" y="3895882"/>
            <a:ext cx="278660" cy="339399"/>
            <a:chOff x="9572419" y="3805876"/>
            <a:chExt cx="278660" cy="339399"/>
          </a:xfrm>
        </p:grpSpPr>
        <p:sp>
          <p:nvSpPr>
            <p:cNvPr id="952" name="Freeform 72"/>
            <p:cNvSpPr>
              <a:spLocks/>
            </p:cNvSpPr>
            <p:nvPr/>
          </p:nvSpPr>
          <p:spPr bwMode="auto">
            <a:xfrm rot="16200000">
              <a:off x="9542049" y="3836246"/>
              <a:ext cx="339399" cy="278660"/>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3" name="Group 952"/>
            <p:cNvGrpSpPr/>
            <p:nvPr/>
          </p:nvGrpSpPr>
          <p:grpSpPr>
            <a:xfrm rot="16200000">
              <a:off x="9559177" y="3854345"/>
              <a:ext cx="304414" cy="242461"/>
              <a:chOff x="-4206875" y="1603375"/>
              <a:chExt cx="3978275" cy="3168650"/>
            </a:xfrm>
            <a:solidFill>
              <a:schemeClr val="accent1">
                <a:lumMod val="75000"/>
              </a:schemeClr>
            </a:solidFill>
          </p:grpSpPr>
          <p:sp>
            <p:nvSpPr>
              <p:cNvPr id="95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7"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8"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9"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962" name="Bent Arrow 961"/>
          <p:cNvSpPr/>
          <p:nvPr/>
        </p:nvSpPr>
        <p:spPr bwMode="auto">
          <a:xfrm flipH="1">
            <a:off x="7352204" y="2915033"/>
            <a:ext cx="633398" cy="366623"/>
          </a:xfrm>
          <a:prstGeom prst="bentArrow">
            <a:avLst>
              <a:gd name="adj1" fmla="val 17986"/>
              <a:gd name="adj2" fmla="val 30248"/>
              <a:gd name="adj3" fmla="val 0"/>
              <a:gd name="adj4" fmla="val 57094"/>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963" name="Group 962"/>
          <p:cNvGrpSpPr>
            <a:grpSpLocks noChangeAspect="1"/>
          </p:cNvGrpSpPr>
          <p:nvPr/>
        </p:nvGrpSpPr>
        <p:grpSpPr>
          <a:xfrm>
            <a:off x="8455902" y="3370225"/>
            <a:ext cx="474409" cy="904327"/>
            <a:chOff x="13253772" y="-14449"/>
            <a:chExt cx="3216275" cy="6130925"/>
          </a:xfrm>
          <a:solidFill>
            <a:schemeClr val="bg1"/>
          </a:solidFill>
        </p:grpSpPr>
        <p:sp>
          <p:nvSpPr>
            <p:cNvPr id="964"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67" name="Rectangle 966"/>
          <p:cNvSpPr/>
          <p:nvPr/>
        </p:nvSpPr>
        <p:spPr bwMode="auto">
          <a:xfrm>
            <a:off x="7528556"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Transmits operational information to the partner (e.g. OEM) and to field service engineers for remote process automation and optimization. </a:t>
            </a:r>
            <a:endParaRPr lang="en-US" sz="900" dirty="0">
              <a:ln w="3175">
                <a:noFill/>
              </a:ln>
              <a:solidFill>
                <a:srgbClr val="FFFFFF"/>
              </a:solidFill>
              <a:cs typeface="Arial" charset="0"/>
            </a:endParaRPr>
          </a:p>
        </p:txBody>
      </p:sp>
      <p:cxnSp>
        <p:nvCxnSpPr>
          <p:cNvPr id="968" name="Straight Connector 967"/>
          <p:cNvCxnSpPr/>
          <p:nvPr/>
        </p:nvCxnSpPr>
        <p:spPr>
          <a:xfrm flipV="1">
            <a:off x="7528557"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74" name="Group 973"/>
          <p:cNvGrpSpPr>
            <a:grpSpLocks noChangeAspect="1"/>
          </p:cNvGrpSpPr>
          <p:nvPr/>
        </p:nvGrpSpPr>
        <p:grpSpPr>
          <a:xfrm>
            <a:off x="1476453" y="3365644"/>
            <a:ext cx="254191" cy="208701"/>
            <a:chOff x="-4435475" y="1371600"/>
            <a:chExt cx="4435475" cy="3641725"/>
          </a:xfrm>
        </p:grpSpPr>
        <p:sp>
          <p:nvSpPr>
            <p:cNvPr id="97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6" name="Group 975"/>
            <p:cNvGrpSpPr/>
            <p:nvPr/>
          </p:nvGrpSpPr>
          <p:grpSpPr>
            <a:xfrm>
              <a:off x="-4206871" y="1603382"/>
              <a:ext cx="3978266" cy="3168652"/>
              <a:chOff x="-4206875" y="1603375"/>
              <a:chExt cx="3978275" cy="3168650"/>
            </a:xfrm>
            <a:solidFill>
              <a:schemeClr val="bg1"/>
            </a:solidFill>
          </p:grpSpPr>
          <p:sp>
            <p:nvSpPr>
              <p:cNvPr id="97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985" name="Elbow Connector 984"/>
          <p:cNvCxnSpPr>
            <a:stCxn id="967" idx="1"/>
            <a:endCxn id="19" idx="1"/>
          </p:cNvCxnSpPr>
          <p:nvPr/>
        </p:nvCxnSpPr>
        <p:spPr>
          <a:xfrm rot="10800000" flipH="1" flipV="1">
            <a:off x="7528556" y="2329746"/>
            <a:ext cx="229002" cy="1756299"/>
          </a:xfrm>
          <a:prstGeom prst="bentConnector3">
            <a:avLst>
              <a:gd name="adj1" fmla="val -39514"/>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86" name="Isosceles Triangle 10"/>
          <p:cNvSpPr/>
          <p:nvPr/>
        </p:nvSpPr>
        <p:spPr bwMode="auto">
          <a:xfrm rot="10800000">
            <a:off x="5801426" y="2562825"/>
            <a:ext cx="637856" cy="974291"/>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Lst>
            <a:ahLst/>
            <a:cxnLst>
              <a:cxn ang="0">
                <a:pos x="connsiteX0" y="connsiteY0"/>
              </a:cxn>
              <a:cxn ang="0">
                <a:pos x="connsiteX1" y="connsiteY1"/>
              </a:cxn>
              <a:cxn ang="0">
                <a:pos x="connsiteX2" y="connsiteY2"/>
              </a:cxn>
              <a:cxn ang="0">
                <a:pos x="connsiteX3" y="connsiteY3"/>
              </a:cxn>
            </a:cxnLst>
            <a:rect l="l" t="t" r="r" b="b"/>
            <a:pathLst>
              <a:path w="637856" h="974291">
                <a:moveTo>
                  <a:pt x="0" y="974291"/>
                </a:moveTo>
                <a:lnTo>
                  <a:pt x="637856" y="0"/>
                </a:lnTo>
                <a:lnTo>
                  <a:pt x="462913" y="974291"/>
                </a:lnTo>
                <a:lnTo>
                  <a:pt x="0" y="974291"/>
                </a:lnTo>
                <a:close/>
              </a:path>
            </a:pathLst>
          </a:custGeom>
          <a:solidFill>
            <a:schemeClr val="accent5">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cxnSp>
        <p:nvCxnSpPr>
          <p:cNvPr id="987" name="Straight Connector 986"/>
          <p:cNvCxnSpPr/>
          <p:nvPr/>
        </p:nvCxnSpPr>
        <p:spPr>
          <a:xfrm>
            <a:off x="5582431" y="2264495"/>
            <a:ext cx="405449" cy="1"/>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94" name="Rectangle 993"/>
          <p:cNvSpPr/>
          <p:nvPr/>
        </p:nvSpPr>
        <p:spPr bwMode="auto">
          <a:xfrm rot="2366189">
            <a:off x="5484946" y="3685235"/>
            <a:ext cx="191499" cy="24243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5" name="Rectangle 21"/>
          <p:cNvSpPr/>
          <p:nvPr/>
        </p:nvSpPr>
        <p:spPr bwMode="auto">
          <a:xfrm rot="19936818">
            <a:off x="5480287" y="2951615"/>
            <a:ext cx="204286" cy="54183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6" name="Rectangle 29"/>
          <p:cNvSpPr/>
          <p:nvPr/>
        </p:nvSpPr>
        <p:spPr bwMode="auto">
          <a:xfrm rot="15300000">
            <a:off x="5014553" y="2792306"/>
            <a:ext cx="155096" cy="53006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97" name="Group 996"/>
          <p:cNvGrpSpPr/>
          <p:nvPr/>
        </p:nvGrpSpPr>
        <p:grpSpPr>
          <a:xfrm>
            <a:off x="5574375" y="3404761"/>
            <a:ext cx="372691" cy="372692"/>
            <a:chOff x="5411363" y="1755522"/>
            <a:chExt cx="316187" cy="316187"/>
          </a:xfrm>
        </p:grpSpPr>
        <p:sp>
          <p:nvSpPr>
            <p:cNvPr id="998" name="Oval 997"/>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9" name="Oval 998"/>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0" name="Oval 999"/>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01" name="Group 1000"/>
          <p:cNvGrpSpPr/>
          <p:nvPr/>
        </p:nvGrpSpPr>
        <p:grpSpPr>
          <a:xfrm flipH="1">
            <a:off x="5291766" y="2832943"/>
            <a:ext cx="270920" cy="270920"/>
            <a:chOff x="4394973" y="1762558"/>
            <a:chExt cx="352210" cy="352210"/>
          </a:xfrm>
        </p:grpSpPr>
        <p:grpSp>
          <p:nvGrpSpPr>
            <p:cNvPr id="1002" name="Group 1001"/>
            <p:cNvGrpSpPr/>
            <p:nvPr/>
          </p:nvGrpSpPr>
          <p:grpSpPr>
            <a:xfrm flipH="1">
              <a:off x="4394973" y="1762558"/>
              <a:ext cx="352210" cy="352210"/>
              <a:chOff x="5411363" y="1755522"/>
              <a:chExt cx="316187" cy="316187"/>
            </a:xfrm>
          </p:grpSpPr>
          <p:sp>
            <p:nvSpPr>
              <p:cNvPr id="1005" name="Oval 1004"/>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6" name="Oval 1005"/>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7" name="Oval 1006"/>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03" name="Rectangle 1002"/>
            <p:cNvSpPr/>
            <p:nvPr/>
          </p:nvSpPr>
          <p:spPr bwMode="auto">
            <a:xfrm flipH="1">
              <a:off x="4553231" y="1789294"/>
              <a:ext cx="35695" cy="2864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4" name="Rectangle 1003"/>
            <p:cNvSpPr/>
            <p:nvPr/>
          </p:nvSpPr>
          <p:spPr bwMode="auto">
            <a:xfrm rot="5400000" flipH="1">
              <a:off x="4556016" y="1795437"/>
              <a:ext cx="35695" cy="28644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08" name="Rectangle 1007"/>
          <p:cNvSpPr/>
          <p:nvPr/>
        </p:nvSpPr>
        <p:spPr bwMode="auto">
          <a:xfrm rot="11618614">
            <a:off x="4712541" y="3222410"/>
            <a:ext cx="102341" cy="18388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9" name="Oval 1008"/>
          <p:cNvSpPr/>
          <p:nvPr/>
        </p:nvSpPr>
        <p:spPr bwMode="auto">
          <a:xfrm rot="11681175">
            <a:off x="4674364" y="3364053"/>
            <a:ext cx="117398" cy="1173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0" name="Group 1009"/>
          <p:cNvGrpSpPr/>
          <p:nvPr/>
        </p:nvGrpSpPr>
        <p:grpSpPr>
          <a:xfrm rot="818614" flipH="1">
            <a:off x="4741615" y="3440684"/>
            <a:ext cx="104940" cy="288700"/>
            <a:chOff x="5430362" y="1772113"/>
            <a:chExt cx="99173" cy="272835"/>
          </a:xfrm>
          <a:solidFill>
            <a:schemeClr val="accent5"/>
          </a:solidFill>
        </p:grpSpPr>
        <p:sp>
          <p:nvSpPr>
            <p:cNvPr id="1011" name="Rectangle 1010"/>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2" name="Diagonal Stripe 1011"/>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3" name="Group 1012"/>
          <p:cNvGrpSpPr>
            <a:grpSpLocks noChangeAspect="1"/>
          </p:cNvGrpSpPr>
          <p:nvPr/>
        </p:nvGrpSpPr>
        <p:grpSpPr>
          <a:xfrm>
            <a:off x="4977716" y="3402048"/>
            <a:ext cx="204402" cy="523112"/>
            <a:chOff x="-3051175" y="-1057275"/>
            <a:chExt cx="2679700" cy="6858000"/>
          </a:xfrm>
        </p:grpSpPr>
        <p:sp>
          <p:nvSpPr>
            <p:cNvPr id="1014"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16" name="Group 1015"/>
          <p:cNvGrpSpPr/>
          <p:nvPr/>
        </p:nvGrpSpPr>
        <p:grpSpPr>
          <a:xfrm rot="2114316">
            <a:off x="4536097" y="3343009"/>
            <a:ext cx="104940" cy="288698"/>
            <a:chOff x="5422401" y="1772114"/>
            <a:chExt cx="99173" cy="272833"/>
          </a:xfrm>
          <a:solidFill>
            <a:schemeClr val="accent5"/>
          </a:solidFill>
        </p:grpSpPr>
        <p:sp>
          <p:nvSpPr>
            <p:cNvPr id="1017" name="Rectangle 1016"/>
            <p:cNvSpPr/>
            <p:nvPr/>
          </p:nvSpPr>
          <p:spPr bwMode="auto">
            <a:xfrm rot="13260000" flipH="1">
              <a:off x="5460056"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8" name="Diagonal Stripe 1017"/>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9" name="Group 1018"/>
          <p:cNvGrpSpPr/>
          <p:nvPr/>
        </p:nvGrpSpPr>
        <p:grpSpPr>
          <a:xfrm flipH="1">
            <a:off x="4709371" y="3059793"/>
            <a:ext cx="203190" cy="203190"/>
            <a:chOff x="4394973" y="1762558"/>
            <a:chExt cx="352210" cy="352210"/>
          </a:xfrm>
        </p:grpSpPr>
        <p:grpSp>
          <p:nvGrpSpPr>
            <p:cNvPr id="1020" name="Group 1019"/>
            <p:cNvGrpSpPr/>
            <p:nvPr/>
          </p:nvGrpSpPr>
          <p:grpSpPr>
            <a:xfrm flipH="1">
              <a:off x="4394973" y="1762558"/>
              <a:ext cx="352210" cy="352210"/>
              <a:chOff x="5411363" y="1755522"/>
              <a:chExt cx="316187" cy="316187"/>
            </a:xfrm>
          </p:grpSpPr>
          <p:sp>
            <p:nvSpPr>
              <p:cNvPr id="1023" name="Oval 1022"/>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8" name="Oval 1027"/>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9" name="Oval 1028"/>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21" name="Rectangle 1020"/>
            <p:cNvSpPr/>
            <p:nvPr/>
          </p:nvSpPr>
          <p:spPr bwMode="auto">
            <a:xfrm flipH="1">
              <a:off x="4553229" y="1795031"/>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2" name="Rectangle 1021"/>
            <p:cNvSpPr/>
            <p:nvPr/>
          </p:nvSpPr>
          <p:spPr bwMode="auto">
            <a:xfrm rot="5400000" flipH="1">
              <a:off x="4559388" y="1806456"/>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30" name="Rounded Rectangle 1029"/>
          <p:cNvSpPr/>
          <p:nvPr/>
        </p:nvSpPr>
        <p:spPr bwMode="auto">
          <a:xfrm>
            <a:off x="5130675" y="3825602"/>
            <a:ext cx="895004" cy="282209"/>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1" name="Rounded Rectangle 1030"/>
          <p:cNvSpPr/>
          <p:nvPr/>
        </p:nvSpPr>
        <p:spPr bwMode="auto">
          <a:xfrm>
            <a:off x="5029886" y="3966705"/>
            <a:ext cx="1096582" cy="158486"/>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32" name="Group 1031"/>
          <p:cNvGrpSpPr/>
          <p:nvPr/>
        </p:nvGrpSpPr>
        <p:grpSpPr>
          <a:xfrm flipH="1">
            <a:off x="6035834" y="3678707"/>
            <a:ext cx="848425" cy="678680"/>
            <a:chOff x="6159848" y="2649092"/>
            <a:chExt cx="848425" cy="678680"/>
          </a:xfrm>
        </p:grpSpPr>
        <p:grpSp>
          <p:nvGrpSpPr>
            <p:cNvPr id="1033" name="Group 1032"/>
            <p:cNvGrpSpPr/>
            <p:nvPr/>
          </p:nvGrpSpPr>
          <p:grpSpPr>
            <a:xfrm>
              <a:off x="6159848" y="3067772"/>
              <a:ext cx="255538" cy="260000"/>
              <a:chOff x="8629196" y="2775642"/>
              <a:chExt cx="1130448" cy="1150187"/>
            </a:xfrm>
          </p:grpSpPr>
          <p:sp>
            <p:nvSpPr>
              <p:cNvPr id="1088" name="Parallelogram 108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9" name="Parallelogram 1088"/>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90" name="Rectangle 1089"/>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4" name="Group 1033"/>
            <p:cNvGrpSpPr/>
            <p:nvPr/>
          </p:nvGrpSpPr>
          <p:grpSpPr>
            <a:xfrm>
              <a:off x="6358475" y="3067772"/>
              <a:ext cx="255538" cy="260000"/>
              <a:chOff x="8629196" y="2775642"/>
              <a:chExt cx="1130448" cy="1150187"/>
            </a:xfrm>
          </p:grpSpPr>
          <p:sp>
            <p:nvSpPr>
              <p:cNvPr id="1085" name="Parallelogram 1084"/>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6" name="Parallelogram 108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7" name="Rectangle 108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5" name="Group 1034"/>
            <p:cNvGrpSpPr/>
            <p:nvPr/>
          </p:nvGrpSpPr>
          <p:grpSpPr>
            <a:xfrm>
              <a:off x="6554108" y="3067772"/>
              <a:ext cx="255538" cy="260000"/>
              <a:chOff x="8629196" y="2775642"/>
              <a:chExt cx="1130448" cy="1150187"/>
            </a:xfrm>
          </p:grpSpPr>
          <p:sp>
            <p:nvSpPr>
              <p:cNvPr id="1072" name="Parallelogram 107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73" name="Parallelogram 107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79" name="Rectangle 1078"/>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6" name="Group 1035"/>
            <p:cNvGrpSpPr/>
            <p:nvPr/>
          </p:nvGrpSpPr>
          <p:grpSpPr>
            <a:xfrm>
              <a:off x="6752735" y="3067772"/>
              <a:ext cx="255538" cy="260000"/>
              <a:chOff x="8629196" y="2775642"/>
              <a:chExt cx="1130448" cy="1150187"/>
            </a:xfrm>
          </p:grpSpPr>
          <p:sp>
            <p:nvSpPr>
              <p:cNvPr id="1062" name="Parallelogram 106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3" name="Parallelogram 106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6" name="Rectangle 1065"/>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7" name="Group 1036"/>
            <p:cNvGrpSpPr/>
            <p:nvPr/>
          </p:nvGrpSpPr>
          <p:grpSpPr>
            <a:xfrm>
              <a:off x="6261735" y="2858497"/>
              <a:ext cx="255538" cy="260000"/>
              <a:chOff x="8629196" y="2775642"/>
              <a:chExt cx="1130448" cy="1150187"/>
            </a:xfrm>
          </p:grpSpPr>
          <p:sp>
            <p:nvSpPr>
              <p:cNvPr id="1058" name="Parallelogram 105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0" name="Parallelogram 1059"/>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1" name="Rectangle 1060"/>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8" name="Group 1037"/>
            <p:cNvGrpSpPr/>
            <p:nvPr/>
          </p:nvGrpSpPr>
          <p:grpSpPr>
            <a:xfrm>
              <a:off x="6453382" y="2858497"/>
              <a:ext cx="255538" cy="260000"/>
              <a:chOff x="8629196" y="2775642"/>
              <a:chExt cx="1130448" cy="1150187"/>
            </a:xfrm>
          </p:grpSpPr>
          <p:sp>
            <p:nvSpPr>
              <p:cNvPr id="1049" name="Parallelogram 1048"/>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53" name="Parallelogram 105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57" name="Rectangle 105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p:cNvGrpSpPr/>
            <p:nvPr/>
          </p:nvGrpSpPr>
          <p:grpSpPr>
            <a:xfrm>
              <a:off x="6651081" y="2858497"/>
              <a:ext cx="255538" cy="260000"/>
              <a:chOff x="8629196" y="2775642"/>
              <a:chExt cx="1130448" cy="1150187"/>
            </a:xfrm>
          </p:grpSpPr>
          <p:sp>
            <p:nvSpPr>
              <p:cNvPr id="1044" name="Parallelogram 1043"/>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6" name="Parallelogram 104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8" name="Rectangle 1047"/>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0" name="Group 1039"/>
            <p:cNvGrpSpPr/>
            <p:nvPr/>
          </p:nvGrpSpPr>
          <p:grpSpPr>
            <a:xfrm>
              <a:off x="6341132" y="2649092"/>
              <a:ext cx="255538" cy="260000"/>
              <a:chOff x="8629196" y="2744764"/>
              <a:chExt cx="1130448" cy="1150187"/>
            </a:xfrm>
          </p:grpSpPr>
          <p:sp>
            <p:nvSpPr>
              <p:cNvPr id="1041" name="Parallelogram 1040"/>
              <p:cNvSpPr/>
              <p:nvPr/>
            </p:nvSpPr>
            <p:spPr bwMode="auto">
              <a:xfrm>
                <a:off x="8629196"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2" name="Parallelogram 1041"/>
              <p:cNvSpPr/>
              <p:nvPr/>
            </p:nvSpPr>
            <p:spPr bwMode="auto">
              <a:xfrm rot="16200000" flipH="1">
                <a:off x="9096106" y="319051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3" name="Rectangle 1042"/>
              <p:cNvSpPr/>
              <p:nvPr/>
            </p:nvSpPr>
            <p:spPr bwMode="auto">
              <a:xfrm>
                <a:off x="8636177"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91" name="Group 1090"/>
          <p:cNvGrpSpPr>
            <a:grpSpLocks noChangeAspect="1"/>
          </p:cNvGrpSpPr>
          <p:nvPr/>
        </p:nvGrpSpPr>
        <p:grpSpPr>
          <a:xfrm>
            <a:off x="5696796" y="3518686"/>
            <a:ext cx="130675" cy="149683"/>
            <a:chOff x="6983648" y="1445099"/>
            <a:chExt cx="547340" cy="626953"/>
          </a:xfrm>
        </p:grpSpPr>
        <p:grpSp>
          <p:nvGrpSpPr>
            <p:cNvPr id="1093" name="Group 1092"/>
            <p:cNvGrpSpPr/>
            <p:nvPr/>
          </p:nvGrpSpPr>
          <p:grpSpPr>
            <a:xfrm>
              <a:off x="7194775" y="1531034"/>
              <a:ext cx="142870" cy="365650"/>
              <a:chOff x="7010073" y="1548130"/>
              <a:chExt cx="1648459" cy="4218939"/>
            </a:xfrm>
            <a:solidFill>
              <a:schemeClr val="accent2"/>
            </a:solidFill>
          </p:grpSpPr>
          <p:sp>
            <p:nvSpPr>
              <p:cNvPr id="1095"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sp>
            <p:nvSpPr>
              <p:cNvPr id="10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grpSp>
        <p:sp>
          <p:nvSpPr>
            <p:cNvPr id="1094"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9" name="Group 1098"/>
          <p:cNvGrpSpPr/>
          <p:nvPr/>
        </p:nvGrpSpPr>
        <p:grpSpPr>
          <a:xfrm rot="12600000">
            <a:off x="791160" y="4053231"/>
            <a:ext cx="232429" cy="343837"/>
            <a:chOff x="2687372" y="3149601"/>
            <a:chExt cx="81465" cy="132564"/>
          </a:xfrm>
          <a:solidFill>
            <a:schemeClr val="accent1"/>
          </a:solidFill>
        </p:grpSpPr>
        <p:sp>
          <p:nvSpPr>
            <p:cNvPr id="11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07" name="Group 1106"/>
          <p:cNvGrpSpPr/>
          <p:nvPr/>
        </p:nvGrpSpPr>
        <p:grpSpPr>
          <a:xfrm rot="9000000" flipH="1">
            <a:off x="5952938" y="3323708"/>
            <a:ext cx="158752" cy="234845"/>
            <a:chOff x="2687372" y="3149601"/>
            <a:chExt cx="81465" cy="132564"/>
          </a:xfrm>
          <a:solidFill>
            <a:schemeClr val="accent5"/>
          </a:solidFill>
        </p:grpSpPr>
        <p:sp>
          <p:nvSpPr>
            <p:cNvPr id="110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18" name="Group 1117"/>
          <p:cNvGrpSpPr/>
          <p:nvPr/>
        </p:nvGrpSpPr>
        <p:grpSpPr>
          <a:xfrm rot="12600000">
            <a:off x="3310140" y="3415864"/>
            <a:ext cx="158752" cy="234845"/>
            <a:chOff x="2687372" y="3149601"/>
            <a:chExt cx="81465" cy="132564"/>
          </a:xfrm>
          <a:solidFill>
            <a:srgbClr val="8DC548"/>
          </a:solidFill>
        </p:grpSpPr>
        <p:sp>
          <p:nvSpPr>
            <p:cNvPr id="1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31" name="Group 1130"/>
          <p:cNvGrpSpPr/>
          <p:nvPr/>
        </p:nvGrpSpPr>
        <p:grpSpPr>
          <a:xfrm rot="5866465" flipH="1">
            <a:off x="4877280" y="5075011"/>
            <a:ext cx="192090" cy="284163"/>
            <a:chOff x="2687372" y="3149601"/>
            <a:chExt cx="81465" cy="132564"/>
          </a:xfrm>
          <a:solidFill>
            <a:srgbClr val="8DC548"/>
          </a:solidFill>
        </p:grpSpPr>
        <p:sp>
          <p:nvSpPr>
            <p:cNvPr id="113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3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3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pic>
        <p:nvPicPr>
          <p:cNvPr id="1146" name="Picture 20"/>
          <p:cNvPicPr>
            <a:picLocks noChangeAspect="1" noChangeArrowheads="1"/>
          </p:cNvPicPr>
          <p:nvPr/>
        </p:nvPicPr>
        <p:blipFill rotWithShape="1">
          <a:blip r:embed="rId3">
            <a:extLst>
              <a:ext uri="{28A0092B-C50C-407E-A947-70E740481C1C}">
                <a14:useLocalDpi xmlns:a14="http://schemas.microsoft.com/office/drawing/2010/main" val="0"/>
              </a:ext>
            </a:extLst>
          </a:blip>
          <a:srcRect l="73404" t="74835" r="25710" b="7811"/>
          <a:stretch/>
        </p:blipFill>
        <p:spPr bwMode="auto">
          <a:xfrm>
            <a:off x="7032935" y="5132257"/>
            <a:ext cx="108030" cy="11901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1152" name="Group 1151"/>
          <p:cNvGrpSpPr/>
          <p:nvPr/>
        </p:nvGrpSpPr>
        <p:grpSpPr>
          <a:xfrm>
            <a:off x="6190022" y="5358168"/>
            <a:ext cx="1162183" cy="888993"/>
            <a:chOff x="5427663" y="2937620"/>
            <a:chExt cx="1308563" cy="1000962"/>
          </a:xfrm>
          <a:solidFill>
            <a:srgbClr val="5F8A95"/>
          </a:solidFill>
        </p:grpSpPr>
        <p:sp>
          <p:nvSpPr>
            <p:cNvPr id="1153" name="Freeform 512"/>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4" name="Rectangle 513"/>
            <p:cNvSpPr>
              <a:spLocks noChangeArrowheads="1"/>
            </p:cNvSpPr>
            <p:nvPr/>
          </p:nvSpPr>
          <p:spPr bwMode="auto">
            <a:xfrm>
              <a:off x="6454969" y="3408158"/>
              <a:ext cx="278527" cy="311181"/>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155" name="Rectangle 514"/>
            <p:cNvSpPr>
              <a:spLocks noChangeArrowheads="1"/>
            </p:cNvSpPr>
            <p:nvPr/>
          </p:nvSpPr>
          <p:spPr bwMode="auto">
            <a:xfrm>
              <a:off x="6458137" y="3093493"/>
              <a:ext cx="242030" cy="278527"/>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156" name="Freeform 515"/>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7" name="Freeform 516"/>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8" name="Freeform 517"/>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grpSp>
      <p:grpSp>
        <p:nvGrpSpPr>
          <p:cNvPr id="969" name="Group 968"/>
          <p:cNvGrpSpPr/>
          <p:nvPr/>
        </p:nvGrpSpPr>
        <p:grpSpPr>
          <a:xfrm>
            <a:off x="8893315" y="2811079"/>
            <a:ext cx="468765" cy="465918"/>
            <a:chOff x="6178987" y="1083053"/>
            <a:chExt cx="2106470" cy="2151434"/>
          </a:xfrm>
          <a:solidFill>
            <a:schemeClr val="bg1">
              <a:alpha val="20000"/>
            </a:schemeClr>
          </a:solidFill>
        </p:grpSpPr>
        <p:sp>
          <p:nvSpPr>
            <p:cNvPr id="970" name="Rectangle 969"/>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1" name="Rectangle 970"/>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2" name="Rectangle 97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3" name="Rectangle 97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83" name="Group 582"/>
          <p:cNvGrpSpPr/>
          <p:nvPr/>
        </p:nvGrpSpPr>
        <p:grpSpPr>
          <a:xfrm rot="20120687">
            <a:off x="8073381" y="3884279"/>
            <a:ext cx="119273" cy="213495"/>
            <a:chOff x="2687372" y="3149601"/>
            <a:chExt cx="81465" cy="132564"/>
          </a:xfrm>
          <a:solidFill>
            <a:schemeClr val="bg1"/>
          </a:solidFill>
        </p:grpSpPr>
        <p:sp>
          <p:nvSpPr>
            <p:cNvPr id="5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99" name="Group 598"/>
          <p:cNvGrpSpPr/>
          <p:nvPr/>
        </p:nvGrpSpPr>
        <p:grpSpPr>
          <a:xfrm rot="12600000">
            <a:off x="7843735" y="5246080"/>
            <a:ext cx="192090" cy="284163"/>
            <a:chOff x="2687372" y="3149601"/>
            <a:chExt cx="81465" cy="132564"/>
          </a:xfrm>
          <a:solidFill>
            <a:schemeClr val="accent1"/>
          </a:solidFill>
        </p:grpSpPr>
        <p:sp>
          <p:nvSpPr>
            <p:cNvPr id="6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19" name="Rectangle 18"/>
          <p:cNvSpPr/>
          <p:nvPr/>
        </p:nvSpPr>
        <p:spPr bwMode="auto">
          <a:xfrm>
            <a:off x="7757558" y="4046899"/>
            <a:ext cx="78292" cy="782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2" name="TextBox 11"/>
          <p:cNvSpPr txBox="1"/>
          <p:nvPr/>
        </p:nvSpPr>
        <p:spPr>
          <a:xfrm>
            <a:off x="10007259" y="2342327"/>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Management</a:t>
            </a:r>
            <a:endParaRPr lang="en-US" sz="950" spc="-38" dirty="0">
              <a:solidFill>
                <a:srgbClr val="00BCF2"/>
              </a:solidFill>
              <a:ea typeface="Segoe UI" pitchFamily="34" charset="0"/>
              <a:cs typeface="Segoe UI" pitchFamily="34" charset="0"/>
            </a:endParaRPr>
          </a:p>
        </p:txBody>
      </p:sp>
      <p:sp>
        <p:nvSpPr>
          <p:cNvPr id="606" name="TextBox 605"/>
          <p:cNvSpPr txBox="1"/>
          <p:nvPr/>
        </p:nvSpPr>
        <p:spPr>
          <a:xfrm>
            <a:off x="9998982" y="3934150"/>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R&amp;D</a:t>
            </a:r>
          </a:p>
        </p:txBody>
      </p:sp>
      <p:sp>
        <p:nvSpPr>
          <p:cNvPr id="607" name="TextBox 606"/>
          <p:cNvSpPr txBox="1"/>
          <p:nvPr/>
        </p:nvSpPr>
        <p:spPr>
          <a:xfrm>
            <a:off x="10007259" y="5364799"/>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Field Service</a:t>
            </a:r>
          </a:p>
        </p:txBody>
      </p:sp>
      <p:sp>
        <p:nvSpPr>
          <p:cNvPr id="660" name="Rectangle 659"/>
          <p:cNvSpPr/>
          <p:nvPr/>
        </p:nvSpPr>
        <p:spPr bwMode="auto">
          <a:xfrm>
            <a:off x="5692844" y="4535170"/>
            <a:ext cx="511465" cy="588053"/>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4" name="Group 23"/>
          <p:cNvGrpSpPr/>
          <p:nvPr/>
        </p:nvGrpSpPr>
        <p:grpSpPr>
          <a:xfrm>
            <a:off x="5766789" y="4750393"/>
            <a:ext cx="372874" cy="169741"/>
            <a:chOff x="4603398" y="-948267"/>
            <a:chExt cx="545923" cy="440267"/>
          </a:xfrm>
        </p:grpSpPr>
        <p:sp>
          <p:nvSpPr>
            <p:cNvPr id="23" name="Rectangle 22"/>
            <p:cNvSpPr/>
            <p:nvPr/>
          </p:nvSpPr>
          <p:spPr bwMode="auto">
            <a:xfrm>
              <a:off x="4673675" y="-948267"/>
              <a:ext cx="152479"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86" name="Rectangle 685"/>
            <p:cNvSpPr/>
            <p:nvPr/>
          </p:nvSpPr>
          <p:spPr bwMode="auto">
            <a:xfrm>
              <a:off x="4897857"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Rectangle 688"/>
            <p:cNvSpPr/>
            <p:nvPr/>
          </p:nvSpPr>
          <p:spPr bwMode="auto">
            <a:xfrm>
              <a:off x="460339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97" name="Rectangle 696"/>
            <p:cNvSpPr/>
            <p:nvPr/>
          </p:nvSpPr>
          <p:spPr bwMode="auto">
            <a:xfrm>
              <a:off x="498617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36" name="Rectangle 735"/>
            <p:cNvSpPr/>
            <p:nvPr/>
          </p:nvSpPr>
          <p:spPr bwMode="auto">
            <a:xfrm>
              <a:off x="5054010" y="-948267"/>
              <a:ext cx="95311"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76" name="Rectangle 775"/>
            <p:cNvSpPr/>
            <p:nvPr/>
          </p:nvSpPr>
          <p:spPr bwMode="auto">
            <a:xfrm>
              <a:off x="4855566"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77" name="Group 776"/>
          <p:cNvGrpSpPr/>
          <p:nvPr/>
        </p:nvGrpSpPr>
        <p:grpSpPr>
          <a:xfrm>
            <a:off x="5273394" y="5503171"/>
            <a:ext cx="188483" cy="85802"/>
            <a:chOff x="4603398" y="-948267"/>
            <a:chExt cx="545923" cy="440267"/>
          </a:xfrm>
          <a:solidFill>
            <a:schemeClr val="accent1">
              <a:lumMod val="50000"/>
            </a:schemeClr>
          </a:solidFill>
        </p:grpSpPr>
        <p:sp>
          <p:nvSpPr>
            <p:cNvPr id="778" name="Rectangle 77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4897857"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054010" y="-948267"/>
              <a:ext cx="95311"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87" name="Isosceles Triangle 10"/>
          <p:cNvSpPr/>
          <p:nvPr/>
        </p:nvSpPr>
        <p:spPr bwMode="auto">
          <a:xfrm rot="10800000">
            <a:off x="5442142" y="5132254"/>
            <a:ext cx="776224" cy="419306"/>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53" name="Rectangle 4"/>
          <p:cNvSpPr/>
          <p:nvPr/>
        </p:nvSpPr>
        <p:spPr bwMode="auto">
          <a:xfrm rot="16929960">
            <a:off x="5162835" y="5350280"/>
            <a:ext cx="59359" cy="345666"/>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9" name="Group 28"/>
          <p:cNvGrpSpPr/>
          <p:nvPr/>
        </p:nvGrpSpPr>
        <p:grpSpPr>
          <a:xfrm>
            <a:off x="4426763" y="5132258"/>
            <a:ext cx="605799" cy="885205"/>
            <a:chOff x="4425174" y="5132257"/>
            <a:chExt cx="605799" cy="885205"/>
          </a:xfrm>
        </p:grpSpPr>
        <p:grpSp>
          <p:nvGrpSpPr>
            <p:cNvPr id="26" name="Group 25"/>
            <p:cNvGrpSpPr/>
            <p:nvPr/>
          </p:nvGrpSpPr>
          <p:grpSpPr>
            <a:xfrm>
              <a:off x="4425174" y="5132257"/>
              <a:ext cx="605799" cy="885205"/>
              <a:chOff x="-1270367" y="3461618"/>
              <a:chExt cx="849615" cy="1241473"/>
            </a:xfrm>
          </p:grpSpPr>
          <p:sp>
            <p:nvSpPr>
              <p:cNvPr id="833" name="Oval 58"/>
              <p:cNvSpPr/>
              <p:nvPr/>
            </p:nvSpPr>
            <p:spPr bwMode="auto">
              <a:xfrm>
                <a:off x="-1270367" y="3461618"/>
                <a:ext cx="497674" cy="1241473"/>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algn="ctr" defTabSz="913466" fontAlgn="base">
                  <a:spcBef>
                    <a:spcPct val="0"/>
                  </a:spcBef>
                  <a:spcAft>
                    <a:spcPct val="0"/>
                  </a:spcAft>
                </a:pPr>
                <a:endParaRPr lang="en-US" sz="1763"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826435" y="4011406"/>
                <a:ext cx="160667" cy="70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801" name="Rectangle 25"/>
              <p:cNvSpPr/>
              <p:nvPr/>
            </p:nvSpPr>
            <p:spPr bwMode="auto">
              <a:xfrm rot="685676">
                <a:off x="-756296" y="3869132"/>
                <a:ext cx="335544" cy="232448"/>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 name="Oval 26"/>
            <p:cNvSpPr/>
            <p:nvPr/>
          </p:nvSpPr>
          <p:spPr bwMode="auto">
            <a:xfrm>
              <a:off x="4968733" y="5462331"/>
              <a:ext cx="27042" cy="28388"/>
            </a:xfrm>
            <a:prstGeom prst="ellipse">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8" name="Rectangle 27"/>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10" name="Oval 5"/>
          <p:cNvSpPr/>
          <p:nvPr/>
        </p:nvSpPr>
        <p:spPr bwMode="auto">
          <a:xfrm>
            <a:off x="387725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51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Projects</a:t>
            </a:r>
            <a:endParaRPr lang="en-US" dirty="0"/>
          </a:p>
        </p:txBody>
      </p:sp>
    </p:spTree>
    <p:extLst>
      <p:ext uri="{BB962C8B-B14F-4D97-AF65-F5344CB8AC3E}">
        <p14:creationId xmlns:p14="http://schemas.microsoft.com/office/powerpoint/2010/main" val="2861508484"/>
      </p:ext>
    </p:extLst>
  </p:cSld>
  <p:clrMapOvr>
    <a:masterClrMapping/>
  </p:clrMapOvr>
  <p:transition spd="slow">
    <p:push/>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s://github.com/MSOpenTech/connectthedots/raw/master/Wiki/Images/ConnectTheDots%20Temp%20and%20Hmdt%20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753" y="79022"/>
            <a:ext cx="9823803" cy="6741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036657"/>
      </p:ext>
    </p:extLst>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github.com/MSOpenTech/connectthedots/raw/master/Wiki/Images/WebSiteCaptur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 y="0"/>
            <a:ext cx="117069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057199"/>
      </p:ext>
    </p:extLst>
  </p:cSld>
  <p:clrMapOvr>
    <a:masterClrMapping/>
  </p:clrMapOvr>
  <p:transition spd="slow">
    <p:push/>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ufacturing</a:t>
            </a:r>
            <a:endParaRPr lang="en-US" dirty="0"/>
          </a:p>
        </p:txBody>
      </p:sp>
      <p:pic>
        <p:nvPicPr>
          <p:cNvPr id="3074" name="Picture 2" descr="Manufacturing Pro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76" y="1189179"/>
            <a:ext cx="10860768" cy="564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735070"/>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Why not?</a:t>
            </a:r>
          </a:p>
        </p:txBody>
      </p:sp>
    </p:spTree>
    <p:extLst>
      <p:ext uri="{BB962C8B-B14F-4D97-AF65-F5344CB8AC3E}">
        <p14:creationId xmlns:p14="http://schemas.microsoft.com/office/powerpoint/2010/main" val="2881880758"/>
      </p:ext>
    </p:extLst>
  </p:cSld>
  <p:clrMapOvr>
    <a:masterClrMapping/>
  </p:clrMapOvr>
  <p:transition spd="slow">
    <p:push/>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eal-time event display"/>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75672" y="235718"/>
            <a:ext cx="11753850" cy="6276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159770"/>
      </p:ext>
    </p:extLst>
  </p:cSld>
  <p:clrMapOvr>
    <a:masterClrMapping/>
  </p:clrMapOvr>
  <p:transition spd="slow">
    <p:pu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34336" y="0"/>
            <a:ext cx="9077352" cy="6858000"/>
          </a:xfrm>
          <a:prstGeom prst="rect">
            <a:avLst/>
          </a:prstGeom>
        </p:spPr>
      </p:pic>
    </p:spTree>
    <p:extLst>
      <p:ext uri="{BB962C8B-B14F-4D97-AF65-F5344CB8AC3E}">
        <p14:creationId xmlns:p14="http://schemas.microsoft.com/office/powerpoint/2010/main" val="2611820397"/>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4682211"/>
          </a:xfrm>
        </p:spPr>
        <p:txBody>
          <a:bodyPr/>
          <a:lstStyle/>
          <a:p>
            <a:r>
              <a:rPr lang="en-US" dirty="0" smtClean="0"/>
              <a:t>Tell me about your scenario</a:t>
            </a:r>
          </a:p>
          <a:p>
            <a:r>
              <a:rPr lang="en-US" dirty="0" smtClean="0"/>
              <a:t>Watch the //Build announcements</a:t>
            </a:r>
          </a:p>
          <a:p>
            <a:endParaRPr lang="en-US" dirty="0"/>
          </a:p>
          <a:p>
            <a:endParaRPr lang="en-US" dirty="0"/>
          </a:p>
          <a:p>
            <a:r>
              <a:rPr lang="en-US" dirty="0" smtClean="0"/>
              <a:t>Follow </a:t>
            </a:r>
            <a:r>
              <a:rPr lang="en-US" b="1" dirty="0" smtClean="0"/>
              <a:t>@ytechie</a:t>
            </a:r>
          </a:p>
          <a:p>
            <a:r>
              <a:rPr lang="en-US" dirty="0" smtClean="0"/>
              <a:t>Listen to the MS Dev Show (</a:t>
            </a:r>
            <a:r>
              <a:rPr lang="en-US" b="1" dirty="0" smtClean="0"/>
              <a:t>msdevshow.com</a:t>
            </a:r>
            <a:r>
              <a:rPr lang="en-US" dirty="0" smtClean="0"/>
              <a:t>)</a:t>
            </a:r>
          </a:p>
          <a:p>
            <a:endParaRPr lang="en-US" dirty="0" smtClean="0"/>
          </a:p>
        </p:txBody>
      </p:sp>
      <p:sp>
        <p:nvSpPr>
          <p:cNvPr id="3" name="Title 2"/>
          <p:cNvSpPr>
            <a:spLocks noGrp="1"/>
          </p:cNvSpPr>
          <p:nvPr>
            <p:ph type="title"/>
          </p:nvPr>
        </p:nvSpPr>
        <p:spPr/>
        <p:txBody>
          <a:bodyPr/>
          <a:lstStyle/>
          <a:p>
            <a:r>
              <a:rPr lang="en-US" dirty="0" smtClean="0"/>
              <a:t>Call to Action</a:t>
            </a:r>
            <a:endParaRPr lang="en-US" dirty="0"/>
          </a:p>
        </p:txBody>
      </p:sp>
    </p:spTree>
    <p:extLst>
      <p:ext uri="{BB962C8B-B14F-4D97-AF65-F5344CB8AC3E}">
        <p14:creationId xmlns:p14="http://schemas.microsoft.com/office/powerpoint/2010/main" val="2217604330"/>
      </p:ext>
    </p:extLst>
  </p:cSld>
  <p:clrMapOvr>
    <a:masterClrMapping/>
  </p:clrMapOvr>
  <p:transition spd="slow">
    <p:push/>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12913" y="1377074"/>
            <a:ext cx="10668000" cy="1323439"/>
          </a:xfrm>
          <a:prstGeom prst="rect">
            <a:avLst/>
          </a:prstGeom>
        </p:spPr>
        <p:txBody>
          <a:bodyPr wrap="square">
            <a:spAutoFit/>
          </a:bodyPr>
          <a:lstStyle/>
          <a:p>
            <a:pPr algn="ctr"/>
            <a:r>
              <a:rPr lang="en-US" sz="4000" dirty="0" smtClean="0"/>
              <a:t>“The </a:t>
            </a:r>
            <a:r>
              <a:rPr lang="en-US" sz="4000" dirty="0"/>
              <a:t>most profound technologies are those that disappear</a:t>
            </a:r>
            <a:r>
              <a:rPr lang="en-US" sz="4000" dirty="0" smtClean="0"/>
              <a:t>.”</a:t>
            </a:r>
            <a:endParaRPr lang="en-US" sz="4000" dirty="0"/>
          </a:p>
        </p:txBody>
      </p:sp>
      <p:sp>
        <p:nvSpPr>
          <p:cNvPr id="4" name="Rectangle 3"/>
          <p:cNvSpPr/>
          <p:nvPr/>
        </p:nvSpPr>
        <p:spPr>
          <a:xfrm>
            <a:off x="6847845" y="6375161"/>
            <a:ext cx="5344155" cy="369332"/>
          </a:xfrm>
          <a:prstGeom prst="rect">
            <a:avLst/>
          </a:prstGeom>
        </p:spPr>
        <p:txBody>
          <a:bodyPr wrap="none">
            <a:spAutoFit/>
          </a:bodyPr>
          <a:lstStyle/>
          <a:p>
            <a:r>
              <a:rPr lang="en-US" dirty="0"/>
              <a:t>Mark </a:t>
            </a:r>
            <a:r>
              <a:rPr lang="en-US" dirty="0" smtClean="0"/>
              <a:t>Weiser, </a:t>
            </a:r>
            <a:r>
              <a:rPr lang="en-US" b="1" dirty="0"/>
              <a:t>The Computer for the 21st </a:t>
            </a:r>
            <a:r>
              <a:rPr lang="en-US" b="1" dirty="0" smtClean="0"/>
              <a:t>Century</a:t>
            </a:r>
            <a:endParaRPr lang="en-US" b="1" dirty="0"/>
          </a:p>
        </p:txBody>
      </p:sp>
    </p:spTree>
    <p:extLst>
      <p:ext uri="{BB962C8B-B14F-4D97-AF65-F5344CB8AC3E}">
        <p14:creationId xmlns:p14="http://schemas.microsoft.com/office/powerpoint/2010/main" val="2367255224"/>
      </p:ext>
    </p:extLst>
  </p:cSld>
  <p:clrMapOvr>
    <a:masterClrMapping/>
  </p:clrMapOvr>
  <p:transition spd="slow">
    <p:push/>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s / Thank you!</a:t>
            </a:r>
            <a:endParaRPr lang="en-US" dirty="0"/>
          </a:p>
        </p:txBody>
      </p:sp>
    </p:spTree>
    <p:extLst>
      <p:ext uri="{BB962C8B-B14F-4D97-AF65-F5344CB8AC3E}">
        <p14:creationId xmlns:p14="http://schemas.microsoft.com/office/powerpoint/2010/main" val="1581471205"/>
      </p:ext>
    </p:extLst>
  </p:cSld>
  <p:clrMapOvr>
    <a:masterClrMapping/>
  </p:clrMapOvr>
  <p:transition spd="slow">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hahastop.com/pictures/Pain_In_The_But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2998" y="2763"/>
            <a:ext cx="9332622" cy="6855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823601"/>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4447642" y="2403908"/>
            <a:ext cx="5815584" cy="1381307"/>
          </a:xfrm>
        </p:spPr>
        <p:txBody>
          <a:bodyPr/>
          <a:lstStyle/>
          <a:p>
            <a:pPr marL="0" indent="0">
              <a:buNone/>
            </a:pPr>
            <a:r>
              <a:rPr lang="en-US" dirty="0"/>
              <a:t>Jason Young</a:t>
            </a:r>
          </a:p>
          <a:p>
            <a:pPr marL="0" indent="0">
              <a:buNone/>
            </a:pPr>
            <a:r>
              <a:rPr lang="en-US" dirty="0"/>
              <a:t>Senior Program Manager</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4904" y="1885492"/>
            <a:ext cx="2412543" cy="2418141"/>
          </a:xfrm>
          <a:prstGeom prst="rect">
            <a:avLst/>
          </a:prstGeom>
        </p:spPr>
      </p:pic>
    </p:spTree>
    <p:extLst>
      <p:ext uri="{BB962C8B-B14F-4D97-AF65-F5344CB8AC3E}">
        <p14:creationId xmlns:p14="http://schemas.microsoft.com/office/powerpoint/2010/main" val="1132621269"/>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48850" y="788742"/>
            <a:ext cx="4161905" cy="819048"/>
          </a:xfrm>
          <a:prstGeom prst="rect">
            <a:avLst/>
          </a:prstGeom>
        </p:spPr>
      </p:pic>
      <p:pic>
        <p:nvPicPr>
          <p:cNvPr id="5" name="Picture 4"/>
          <p:cNvPicPr>
            <a:picLocks noChangeAspect="1"/>
          </p:cNvPicPr>
          <p:nvPr/>
        </p:nvPicPr>
        <p:blipFill>
          <a:blip r:embed="rId4"/>
          <a:stretch>
            <a:fillRect/>
          </a:stretch>
        </p:blipFill>
        <p:spPr>
          <a:xfrm>
            <a:off x="3722424" y="5153596"/>
            <a:ext cx="7219048" cy="1028571"/>
          </a:xfrm>
          <a:prstGeom prst="rect">
            <a:avLst/>
          </a:prstGeom>
        </p:spPr>
      </p:pic>
      <p:pic>
        <p:nvPicPr>
          <p:cNvPr id="6" name="Picture 5"/>
          <p:cNvPicPr>
            <a:picLocks noChangeAspect="1"/>
          </p:cNvPicPr>
          <p:nvPr/>
        </p:nvPicPr>
        <p:blipFill>
          <a:blip r:embed="rId5"/>
          <a:stretch>
            <a:fillRect/>
          </a:stretch>
        </p:blipFill>
        <p:spPr>
          <a:xfrm>
            <a:off x="259401" y="2023425"/>
            <a:ext cx="6591670" cy="2714535"/>
          </a:xfrm>
          <a:prstGeom prst="rect">
            <a:avLst/>
          </a:prstGeom>
        </p:spPr>
      </p:pic>
      <p:pic>
        <p:nvPicPr>
          <p:cNvPr id="7" name="Picture 6"/>
          <p:cNvPicPr>
            <a:picLocks noChangeAspect="1"/>
          </p:cNvPicPr>
          <p:nvPr/>
        </p:nvPicPr>
        <p:blipFill>
          <a:blip r:embed="rId6"/>
          <a:stretch>
            <a:fillRect/>
          </a:stretch>
        </p:blipFill>
        <p:spPr>
          <a:xfrm>
            <a:off x="6851071" y="272066"/>
            <a:ext cx="5086218" cy="2313632"/>
          </a:xfrm>
          <a:prstGeom prst="rect">
            <a:avLst/>
          </a:prstGeom>
        </p:spPr>
      </p:pic>
      <p:pic>
        <p:nvPicPr>
          <p:cNvPr id="10"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447" y="2371444"/>
            <a:ext cx="2438400" cy="2438400"/>
          </a:xfrm>
          <a:prstGeom prst="rect">
            <a:avLst/>
          </a:prstGeom>
        </p:spPr>
      </p:pic>
      <p:pic>
        <p:nvPicPr>
          <p:cNvPr id="3074" name="Picture 2" descr="Open Interconnect Consortiu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5265376"/>
            <a:ext cx="4366260" cy="1546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8556244"/>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2408257"/>
            <a:ext cx="11653523" cy="2041488"/>
          </a:xfrm>
        </p:spPr>
        <p:txBody>
          <a:bodyPr anchor="ctr"/>
          <a:lstStyle/>
          <a:p>
            <a:pPr marL="0" indent="0" algn="ctr">
              <a:buNone/>
            </a:pPr>
            <a:r>
              <a:rPr lang="en-US" dirty="0" smtClean="0"/>
              <a:t>IoT is just a…</a:t>
            </a:r>
          </a:p>
          <a:p>
            <a:pPr marL="0" indent="0" algn="ctr">
              <a:buNone/>
            </a:pPr>
            <a:r>
              <a:rPr lang="en-US" dirty="0" smtClean="0"/>
              <a:t>Buzzword…</a:t>
            </a:r>
          </a:p>
          <a:p>
            <a:pPr marL="0" indent="0" algn="ctr">
              <a:buNone/>
            </a:pPr>
            <a:r>
              <a:rPr lang="en-US" dirty="0" smtClean="0"/>
              <a:t>A Fad…</a:t>
            </a:r>
            <a:endParaRPr lang="en-US" dirty="0"/>
          </a:p>
        </p:txBody>
      </p:sp>
    </p:spTree>
    <p:extLst>
      <p:ext uri="{BB962C8B-B14F-4D97-AF65-F5344CB8AC3E}">
        <p14:creationId xmlns:p14="http://schemas.microsoft.com/office/powerpoint/2010/main" val="4040872045"/>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2.xml><?xml version="1.0" encoding="utf-8"?>
<a:theme xmlns:a="http://schemas.openxmlformats.org/drawingml/2006/main" name="1_MSVID Microsoft Brand template_16-9_White_Purple accent">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1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5.xml><?xml version="1.0" encoding="utf-8"?>
<a:theme xmlns:a="http://schemas.openxmlformats.org/drawingml/2006/main" name="2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6.xml><?xml version="1.0" encoding="utf-8"?>
<a:theme xmlns:a="http://schemas.openxmlformats.org/drawingml/2006/main" name="3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7.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8.xml><?xml version="1.0" encoding="utf-8"?>
<a:theme xmlns:a="http://schemas.openxmlformats.org/drawingml/2006/main" name="4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7a5163d-9979-431e-b761-2ea95fb54f47">
      <UserInfo>
        <DisplayName>Rob Rowe</DisplayName>
        <AccountId>196</AccountId>
        <AccountType/>
      </UserInfo>
      <UserInfo>
        <DisplayName>Jan-Willem Verkerk</DisplayName>
        <AccountId>185</AccountId>
        <AccountType/>
      </UserInfo>
      <UserInfo>
        <DisplayName>Sally Solaro</DisplayName>
        <AccountId>191</AccountId>
        <AccountType/>
      </UserInfo>
      <UserInfo>
        <DisplayName>Amir Pinchas</DisplayName>
        <AccountId>184</AccountId>
        <AccountType/>
      </UserInfo>
      <UserInfo>
        <DisplayName>Anko Duizer</DisplayName>
        <AccountId>632</AccountId>
        <AccountType/>
      </UserInfo>
      <UserInfo>
        <DisplayName>Sean Alexander</DisplayName>
        <AccountId>2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65683724EA6243A1DE28B9697BDA54" ma:contentTypeVersion="1" ma:contentTypeDescription="Create a new document." ma:contentTypeScope="" ma:versionID="9bde5fd8fe7f7ad37ef5bddde096bf2e">
  <xsd:schema xmlns:xsd="http://www.w3.org/2001/XMLSchema" xmlns:xs="http://www.w3.org/2001/XMLSchema" xmlns:p="http://schemas.microsoft.com/office/2006/metadata/properties" xmlns:ns3="f7a5163d-9979-431e-b761-2ea95fb54f47" targetNamespace="http://schemas.microsoft.com/office/2006/metadata/properties" ma:root="true" ma:fieldsID="868a926f396efbd1f12fe7b7f5b5f14a" ns3:_="">
    <xsd:import namespace="f7a5163d-9979-431e-b761-2ea95fb54f47"/>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a5163d-9979-431e-b761-2ea95fb54f4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07A77DD-E2E9-4F75-94E5-24EE0BA73397}">
  <ds:schemaRefs>
    <ds:schemaRef ds:uri="http://schemas.microsoft.com/office/2006/metadata/properties"/>
    <ds:schemaRef ds:uri="http://www.w3.org/2000/xmlns/"/>
    <ds:schemaRef ds:uri="f7a5163d-9979-431e-b761-2ea95fb54f47"/>
    <ds:schemaRef ds:uri="http://schemas.microsoft.com/office/infopath/2007/PartnerControls"/>
  </ds:schemaRefs>
</ds:datastoreItem>
</file>

<file path=customXml/itemProps2.xml><?xml version="1.0" encoding="utf-8"?>
<ds:datastoreItem xmlns:ds="http://schemas.openxmlformats.org/officeDocument/2006/customXml" ds:itemID="{7BAB3DA4-88CF-4F6C-B37B-6E496F179060}">
  <ds:schemaRefs>
    <ds:schemaRef ds:uri="http://schemas.microsoft.com/sharepoint/v3/contenttype/forms"/>
  </ds:schemaRefs>
</ds:datastoreItem>
</file>

<file path=customXml/itemProps3.xml><?xml version="1.0" encoding="utf-8"?>
<ds:datastoreItem xmlns:ds="http://schemas.openxmlformats.org/officeDocument/2006/customXml" ds:itemID="{7B9F080F-B5F3-498F-93D0-8DC85ACE3CBE}">
  <ds:schemaRefs>
    <ds:schemaRef ds:uri="http://schemas.microsoft.com/office/2006/metadata/contentType"/>
    <ds:schemaRef ds:uri="http://schemas.microsoft.com/office/2006/metadata/properties/metaAttributes"/>
    <ds:schemaRef ds:uri="http://www.w3.org/2000/xmlns/"/>
    <ds:schemaRef ds:uri="http://www.w3.org/2001/XMLSchema"/>
    <ds:schemaRef ds:uri="f7a5163d-9979-431e-b761-2ea95fb54f4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853</TotalTime>
  <Words>1941</Words>
  <Application>Microsoft Office PowerPoint</Application>
  <PresentationFormat>Widescreen</PresentationFormat>
  <Paragraphs>297</Paragraphs>
  <Slides>54</Slides>
  <Notes>40</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5" baseType="lpstr">
      <vt:lpstr>Arial</vt:lpstr>
      <vt:lpstr>Arial</vt:lpstr>
      <vt:lpstr>Calibri</vt:lpstr>
      <vt:lpstr>Consolas</vt:lpstr>
      <vt:lpstr>Georgia</vt:lpstr>
      <vt:lpstr>Segoe Light</vt:lpstr>
      <vt:lpstr>Segoe Semibold</vt:lpstr>
      <vt:lpstr>Segoe UI</vt:lpstr>
      <vt:lpstr>Segoe UI Light</vt:lpstr>
      <vt:lpstr>Segoe UI Semibold</vt:lpstr>
      <vt:lpstr>Times New Roman</vt:lpstr>
      <vt:lpstr>Wingdings</vt:lpstr>
      <vt:lpstr>DPE Partner Team Internal</vt:lpstr>
      <vt:lpstr>1_MSVID Microsoft Brand template_16-9_White_Purple accent</vt:lpstr>
      <vt:lpstr>1_3-30070_Windows_Server_Management_Marketing_Template_16x9</vt:lpstr>
      <vt:lpstr>1_DPE Partner Team Internal</vt:lpstr>
      <vt:lpstr>2_DPE Partner Team Internal</vt:lpstr>
      <vt:lpstr>3_DPE Partner Team Internal</vt:lpstr>
      <vt:lpstr>5-30606_TR20_BO_CT_Template</vt:lpstr>
      <vt:lpstr>4_DPE Partner Team Internal</vt:lpstr>
      <vt:lpstr>think-cell Slide</vt:lpstr>
      <vt:lpstr>IoT - It's Not Just a Buzzwo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the Internet of Things?</vt:lpstr>
      <vt:lpstr>Microsoft Azure IoT services</vt:lpstr>
      <vt:lpstr>Azure IoT Su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ent Hubs</vt:lpstr>
      <vt:lpstr>Event Hubs 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orage</vt:lpstr>
      <vt:lpstr>PowerPoint Presentation</vt:lpstr>
      <vt:lpstr>PowerPoint Presentation</vt:lpstr>
      <vt:lpstr> Stream Analytics</vt:lpstr>
      <vt:lpstr>Machine Learning </vt:lpstr>
      <vt:lpstr>PowerBI </vt:lpstr>
      <vt:lpstr>PowerPoint Presentation</vt:lpstr>
      <vt:lpstr>Azure IoT services Reference Architecture</vt:lpstr>
      <vt:lpstr>The Internet of Things – Manufacturing</vt:lpstr>
      <vt:lpstr>Projects</vt:lpstr>
      <vt:lpstr>PowerPoint Presentation</vt:lpstr>
      <vt:lpstr>PowerPoint Presentation</vt:lpstr>
      <vt:lpstr>Manufacturing</vt:lpstr>
      <vt:lpstr>PowerPoint Presentation</vt:lpstr>
      <vt:lpstr>PowerPoint Presentation</vt:lpstr>
      <vt:lpstr>Call to Action</vt:lpstr>
      <vt:lpstr>PowerPoint Presentation</vt:lpstr>
      <vt:lpstr>Questions / 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ham Elliott</dc:creator>
  <cp:lastModifiedBy>Jason Young</cp:lastModifiedBy>
  <cp:revision>418</cp:revision>
  <dcterms:created xsi:type="dcterms:W3CDTF">2014-07-31T01:42:27Z</dcterms:created>
  <dcterms:modified xsi:type="dcterms:W3CDTF">2015-03-27T14:4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65683724EA6243A1DE28B9697BDA54</vt:lpwstr>
  </property>
  <property fmtid="{D5CDD505-2E9C-101B-9397-08002B2CF9AE}" pid="3" name="TaxKeyword">
    <vt:lpwstr/>
  </property>
  <property fmtid="{D5CDD505-2E9C-101B-9397-08002B2CF9AE}" pid="4" name="DocVizMetadataToken">
    <vt:lpwstr>300x168x1</vt:lpwstr>
  </property>
  <property fmtid="{D5CDD505-2E9C-101B-9397-08002B2CF9AE}" pid="5" name="IsMyDocuments">
    <vt:bool>true</vt:bool>
  </property>
</Properties>
</file>